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rels" ContentType="application/vnd.openxmlformats-package.relationships+xml"/>
  <Default Extension="emf" ContentType="image/x-emf"/>
  <Default Extension="mp4" ContentType="video/mp4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6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7.xml" ContentType="application/vnd.openxmlformats-officedocument.them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8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4"/>
    <p:sldMasterId id="2147483896" r:id="rId5"/>
    <p:sldMasterId id="2147484254" r:id="rId6"/>
    <p:sldMasterId id="2147484372" r:id="rId7"/>
    <p:sldMasterId id="2147484378" r:id="rId8"/>
    <p:sldMasterId id="2147484383" r:id="rId9"/>
    <p:sldMasterId id="2147484387" r:id="rId10"/>
    <p:sldMasterId id="2147484425" r:id="rId11"/>
  </p:sldMasterIdLst>
  <p:notesMasterIdLst>
    <p:notesMasterId r:id="rId40"/>
  </p:notesMasterIdLst>
  <p:handoutMasterIdLst>
    <p:handoutMasterId r:id="rId41"/>
  </p:handoutMasterIdLst>
  <p:sldIdLst>
    <p:sldId id="2444" r:id="rId12"/>
    <p:sldId id="2436" r:id="rId13"/>
    <p:sldId id="2502" r:id="rId14"/>
    <p:sldId id="2480" r:id="rId15"/>
    <p:sldId id="2431" r:id="rId16"/>
    <p:sldId id="2450" r:id="rId17"/>
    <p:sldId id="2503" r:id="rId18"/>
    <p:sldId id="2446" r:id="rId19"/>
    <p:sldId id="2484" r:id="rId20"/>
    <p:sldId id="2493" r:id="rId21"/>
    <p:sldId id="2504" r:id="rId22"/>
    <p:sldId id="2508" r:id="rId23"/>
    <p:sldId id="2443" r:id="rId24"/>
    <p:sldId id="2452" r:id="rId25"/>
    <p:sldId id="2505" r:id="rId26"/>
    <p:sldId id="2487" r:id="rId27"/>
    <p:sldId id="2448" r:id="rId28"/>
    <p:sldId id="2465" r:id="rId29"/>
    <p:sldId id="2500" r:id="rId30"/>
    <p:sldId id="2395" r:id="rId31"/>
    <p:sldId id="2425" r:id="rId32"/>
    <p:sldId id="484" r:id="rId33"/>
    <p:sldId id="2506" r:id="rId34"/>
    <p:sldId id="2492" r:id="rId35"/>
    <p:sldId id="2491" r:id="rId36"/>
    <p:sldId id="2426" r:id="rId37"/>
    <p:sldId id="2507" r:id="rId38"/>
    <p:sldId id="2447" r:id="rId39"/>
  </p:sldIdLst>
  <p:sldSz cx="9144000" cy="6858000" type="screen4x3"/>
  <p:notesSz cx="6797675" cy="9928225"/>
  <p:custDataLst>
    <p:tags r:id="rId4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80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609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4154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32209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90262" algn="l" defTabSz="916095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8317" algn="l" defTabSz="916095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6370" algn="l" defTabSz="916095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64422" algn="l" defTabSz="916095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64" userDrawn="1">
          <p15:clr>
            <a:srgbClr val="A4A3A4"/>
          </p15:clr>
        </p15:guide>
        <p15:guide id="2" pos="72" userDrawn="1">
          <p15:clr>
            <a:srgbClr val="A4A3A4"/>
          </p15:clr>
        </p15:guide>
        <p15:guide id="3" pos="5616" userDrawn="1">
          <p15:clr>
            <a:srgbClr val="A4A3A4"/>
          </p15:clr>
        </p15:guide>
        <p15:guide id="4" orient="horz" pos="4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669" userDrawn="1">
          <p15:clr>
            <a:srgbClr val="A4A3A4"/>
          </p15:clr>
        </p15:guide>
        <p15:guide id="2" pos="2920" userDrawn="1">
          <p15:clr>
            <a:srgbClr val="A4A3A4"/>
          </p15:clr>
        </p15:guide>
        <p15:guide id="3" orient="horz" pos="3122" userDrawn="1">
          <p15:clr>
            <a:srgbClr val="A4A3A4"/>
          </p15:clr>
        </p15:guide>
        <p15:guide id="4" pos="2136" userDrawn="1">
          <p15:clr>
            <a:srgbClr val="A4A3A4"/>
          </p15:clr>
        </p15:guide>
        <p15:guide id="5" orient="horz" pos="4677" userDrawn="1">
          <p15:clr>
            <a:srgbClr val="A4A3A4"/>
          </p15:clr>
        </p15:guide>
        <p15:guide id="6" orient="horz" pos="3128" userDrawn="1">
          <p15:clr>
            <a:srgbClr val="A4A3A4"/>
          </p15:clr>
        </p15:guide>
        <p15:guide id="7" pos="2929" userDrawn="1">
          <p15:clr>
            <a:srgbClr val="A4A3A4"/>
          </p15:clr>
        </p15:guide>
        <p15:guide id="8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0" name="Author" initials="A" lastIdx="0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B8BC"/>
    <a:srgbClr val="C0E8F6"/>
    <a:srgbClr val="004A99"/>
    <a:srgbClr val="A3E7FF"/>
    <a:srgbClr val="01224F"/>
    <a:srgbClr val="0000CC"/>
    <a:srgbClr val="FF0066"/>
    <a:srgbClr val="FFB3D2"/>
    <a:srgbClr val="66CCFF"/>
    <a:srgbClr val="33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23" autoAdjust="0"/>
    <p:restoredTop sz="41968" autoAdjust="0"/>
  </p:normalViewPr>
  <p:slideViewPr>
    <p:cSldViewPr snapToGrid="0" snapToObjects="1">
      <p:cViewPr varScale="1">
        <p:scale>
          <a:sx n="129" d="100"/>
          <a:sy n="129" d="100"/>
        </p:scale>
        <p:origin x="1456" y="192"/>
      </p:cViewPr>
      <p:guideLst>
        <p:guide orient="horz" pos="2664"/>
        <p:guide pos="72"/>
        <p:guide pos="5616"/>
        <p:guide orient="horz" pos="42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-5584"/>
    </p:cViewPr>
  </p:sorterViewPr>
  <p:notesViewPr>
    <p:cSldViewPr snapToGrid="0" snapToObjects="1">
      <p:cViewPr>
        <p:scale>
          <a:sx n="75" d="100"/>
          <a:sy n="75" d="100"/>
        </p:scale>
        <p:origin x="2184" y="-76"/>
      </p:cViewPr>
      <p:guideLst>
        <p:guide orient="horz" pos="4669"/>
        <p:guide pos="2920"/>
        <p:guide orient="horz" pos="3122"/>
        <p:guide pos="2136"/>
        <p:guide orient="horz" pos="4677"/>
        <p:guide orient="horz" pos="3128"/>
        <p:guide pos="292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46" Type="http://schemas.openxmlformats.org/officeDocument/2006/relationships/theme" Target="theme/theme1.xml"/><Relationship Id="rId47" Type="http://schemas.openxmlformats.org/officeDocument/2006/relationships/tableStyles" Target="tableStyles.xml"/><Relationship Id="rId20" Type="http://schemas.openxmlformats.org/officeDocument/2006/relationships/slide" Target="slides/slide9.xml"/><Relationship Id="rId21" Type="http://schemas.openxmlformats.org/officeDocument/2006/relationships/slide" Target="slides/slide10.xml"/><Relationship Id="rId22" Type="http://schemas.openxmlformats.org/officeDocument/2006/relationships/slide" Target="slides/slide11.xml"/><Relationship Id="rId23" Type="http://schemas.openxmlformats.org/officeDocument/2006/relationships/slide" Target="slides/slide12.xml"/><Relationship Id="rId24" Type="http://schemas.openxmlformats.org/officeDocument/2006/relationships/slide" Target="slides/slide13.xml"/><Relationship Id="rId25" Type="http://schemas.openxmlformats.org/officeDocument/2006/relationships/slide" Target="slides/slide14.xml"/><Relationship Id="rId26" Type="http://schemas.openxmlformats.org/officeDocument/2006/relationships/slide" Target="slides/slide15.xml"/><Relationship Id="rId27" Type="http://schemas.openxmlformats.org/officeDocument/2006/relationships/slide" Target="slides/slide16.xml"/><Relationship Id="rId28" Type="http://schemas.openxmlformats.org/officeDocument/2006/relationships/slide" Target="slides/slide17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30" Type="http://schemas.openxmlformats.org/officeDocument/2006/relationships/slide" Target="slides/slide19.xml"/><Relationship Id="rId31" Type="http://schemas.openxmlformats.org/officeDocument/2006/relationships/slide" Target="slides/slide20.xml"/><Relationship Id="rId32" Type="http://schemas.openxmlformats.org/officeDocument/2006/relationships/slide" Target="slides/slide21.xml"/><Relationship Id="rId9" Type="http://schemas.openxmlformats.org/officeDocument/2006/relationships/slideMaster" Target="slideMasters/slideMaster6.xml"/><Relationship Id="rId6" Type="http://schemas.openxmlformats.org/officeDocument/2006/relationships/slideMaster" Target="slideMasters/slideMaster3.xml"/><Relationship Id="rId7" Type="http://schemas.openxmlformats.org/officeDocument/2006/relationships/slideMaster" Target="slideMasters/slideMaster4.xml"/><Relationship Id="rId8" Type="http://schemas.openxmlformats.org/officeDocument/2006/relationships/slideMaster" Target="slideMasters/slideMaster5.xml"/><Relationship Id="rId33" Type="http://schemas.openxmlformats.org/officeDocument/2006/relationships/slide" Target="slides/slide22.xml"/><Relationship Id="rId34" Type="http://schemas.openxmlformats.org/officeDocument/2006/relationships/slide" Target="slides/slide23.xml"/><Relationship Id="rId35" Type="http://schemas.openxmlformats.org/officeDocument/2006/relationships/slide" Target="slides/slide24.xml"/><Relationship Id="rId36" Type="http://schemas.openxmlformats.org/officeDocument/2006/relationships/slide" Target="slides/slide25.xml"/><Relationship Id="rId10" Type="http://schemas.openxmlformats.org/officeDocument/2006/relationships/slideMaster" Target="slideMasters/slideMaster7.xml"/><Relationship Id="rId11" Type="http://schemas.openxmlformats.org/officeDocument/2006/relationships/slideMaster" Target="slideMasters/slideMaster8.xml"/><Relationship Id="rId12" Type="http://schemas.openxmlformats.org/officeDocument/2006/relationships/slide" Target="slides/slide1.xml"/><Relationship Id="rId13" Type="http://schemas.openxmlformats.org/officeDocument/2006/relationships/slide" Target="slides/slide2.xml"/><Relationship Id="rId14" Type="http://schemas.openxmlformats.org/officeDocument/2006/relationships/slide" Target="slides/slide3.xml"/><Relationship Id="rId15" Type="http://schemas.openxmlformats.org/officeDocument/2006/relationships/slide" Target="slides/slide4.xml"/><Relationship Id="rId16" Type="http://schemas.openxmlformats.org/officeDocument/2006/relationships/slide" Target="slides/slide5.xml"/><Relationship Id="rId17" Type="http://schemas.openxmlformats.org/officeDocument/2006/relationships/slide" Target="slides/slide6.xml"/><Relationship Id="rId18" Type="http://schemas.openxmlformats.org/officeDocument/2006/relationships/slide" Target="slides/slide7.xml"/><Relationship Id="rId19" Type="http://schemas.openxmlformats.org/officeDocument/2006/relationships/slide" Target="slides/slide8.xml"/><Relationship Id="rId37" Type="http://schemas.openxmlformats.org/officeDocument/2006/relationships/slide" Target="slides/slide26.xml"/><Relationship Id="rId38" Type="http://schemas.openxmlformats.org/officeDocument/2006/relationships/slide" Target="slides/slide27.xml"/><Relationship Id="rId39" Type="http://schemas.openxmlformats.org/officeDocument/2006/relationships/slide" Target="slides/slide28.xml"/><Relationship Id="rId40" Type="http://schemas.openxmlformats.org/officeDocument/2006/relationships/notesMaster" Target="notesMasters/notesMaster1.xml"/><Relationship Id="rId41" Type="http://schemas.openxmlformats.org/officeDocument/2006/relationships/handoutMaster" Target="handoutMasters/handoutMaster1.xml"/><Relationship Id="rId42" Type="http://schemas.openxmlformats.org/officeDocument/2006/relationships/tags" Target="tags/tag1.xml"/><Relationship Id="rId43" Type="http://schemas.openxmlformats.org/officeDocument/2006/relationships/commentAuthors" Target="commentAuthors.xml"/><Relationship Id="rId44" Type="http://schemas.openxmlformats.org/officeDocument/2006/relationships/presProps" Target="presProps.xml"/><Relationship Id="rId45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628219C-E266-9D40-A69C-0FCFA6936B1C}" type="doc">
      <dgm:prSet loTypeId="urn:microsoft.com/office/officeart/2005/8/layout/venn3" loCatId="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7EE15E59-B9B3-794A-B4B0-2F4C7D58509A}">
      <dgm:prSet phldrT="[Text]" custT="1"/>
      <dgm:spPr>
        <a:solidFill>
          <a:srgbClr val="10B8BC">
            <a:alpha val="50000"/>
          </a:srgbClr>
        </a:solidFill>
      </dgm:spPr>
      <dgm:t>
        <a:bodyPr/>
        <a:lstStyle/>
        <a:p>
          <a:r>
            <a:rPr lang="en-US" sz="1600" dirty="0"/>
            <a:t>5 million people trained</a:t>
          </a:r>
        </a:p>
      </dgm:t>
    </dgm:pt>
    <dgm:pt modelId="{CB824C22-7DFE-574B-A414-15FC626DD3EB}" type="parTrans" cxnId="{F03E3CE0-DD67-2141-A412-BE84FC8E5E16}">
      <dgm:prSet/>
      <dgm:spPr/>
      <dgm:t>
        <a:bodyPr/>
        <a:lstStyle/>
        <a:p>
          <a:endParaRPr lang="en-US"/>
        </a:p>
      </dgm:t>
    </dgm:pt>
    <dgm:pt modelId="{FC03E6AA-08F9-164E-A59B-24FFE547EE29}" type="sibTrans" cxnId="{F03E3CE0-DD67-2141-A412-BE84FC8E5E16}">
      <dgm:prSet/>
      <dgm:spPr/>
      <dgm:t>
        <a:bodyPr/>
        <a:lstStyle/>
        <a:p>
          <a:endParaRPr lang="en-US"/>
        </a:p>
      </dgm:t>
    </dgm:pt>
    <dgm:pt modelId="{985D38EC-84BD-C243-89F4-359D5E15AF48}">
      <dgm:prSet custT="1"/>
      <dgm:spPr>
        <a:solidFill>
          <a:srgbClr val="10B8BC">
            <a:alpha val="50000"/>
          </a:srgbClr>
        </a:solidFill>
      </dgm:spPr>
      <dgm:t>
        <a:bodyPr/>
        <a:lstStyle/>
        <a:p>
          <a:pPr algn="l"/>
          <a:r>
            <a:rPr lang="en-GB" sz="1600" dirty="0"/>
            <a:t>Improving the lives of 500 million people experiencing mental health challenges</a:t>
          </a:r>
        </a:p>
      </dgm:t>
    </dgm:pt>
    <dgm:pt modelId="{F9117EF2-4940-7D43-AC3A-2AF409D42D77}" type="parTrans" cxnId="{3A17EB0D-8FB1-2D48-948C-6B5D32CC8CFC}">
      <dgm:prSet/>
      <dgm:spPr/>
      <dgm:t>
        <a:bodyPr/>
        <a:lstStyle/>
        <a:p>
          <a:endParaRPr lang="en-GB"/>
        </a:p>
      </dgm:t>
    </dgm:pt>
    <dgm:pt modelId="{BC35F252-7317-8A4E-9495-3177631FD047}" type="sibTrans" cxnId="{3A17EB0D-8FB1-2D48-948C-6B5D32CC8CFC}">
      <dgm:prSet/>
      <dgm:spPr/>
      <dgm:t>
        <a:bodyPr/>
        <a:lstStyle/>
        <a:p>
          <a:endParaRPr lang="en-GB"/>
        </a:p>
      </dgm:t>
    </dgm:pt>
    <dgm:pt modelId="{9AD732F2-DEDD-714F-A71C-C03365FC37D0}" type="pres">
      <dgm:prSet presAssocID="{9628219C-E266-9D40-A69C-0FCFA6936B1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0EE866E-33CE-AB4E-AC56-C616A712F58B}" type="pres">
      <dgm:prSet presAssocID="{7EE15E59-B9B3-794A-B4B0-2F4C7D58509A}" presName="Name5" presStyleLbl="vennNode1" presStyleIdx="0" presStyleCnt="2" custScaleX="69758" custScaleY="27492" custLinFactX="-53736" custLinFactNeighborX="-100000" custLinFactNeighborY="-506">
        <dgm:presLayoutVars>
          <dgm:bulletEnabled val="1"/>
        </dgm:presLayoutVars>
      </dgm:prSet>
      <dgm:spPr>
        <a:prstGeom prst="rightArrow">
          <a:avLst/>
        </a:prstGeom>
      </dgm:spPr>
      <dgm:t>
        <a:bodyPr/>
        <a:lstStyle/>
        <a:p>
          <a:endParaRPr lang="en-US"/>
        </a:p>
      </dgm:t>
    </dgm:pt>
    <dgm:pt modelId="{1A2DF9CF-E0D0-FF4B-81E3-641BD877598E}" type="pres">
      <dgm:prSet presAssocID="{FC03E6AA-08F9-164E-A59B-24FFE547EE29}" presName="space" presStyleCnt="0"/>
      <dgm:spPr/>
    </dgm:pt>
    <dgm:pt modelId="{973616BF-4280-4947-B0F9-B5423648A8CD}" type="pres">
      <dgm:prSet presAssocID="{985D38EC-84BD-C243-89F4-359D5E15AF48}" presName="Name5" presStyleLbl="vennNode1" presStyleIdx="1" presStyleCnt="2" custScaleX="86252" custScaleY="27478" custLinFactX="18593" custLinFactNeighborX="100000" custLinFactNeighborY="271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</dgm:ptLst>
  <dgm:cxnLst>
    <dgm:cxn modelId="{3A17EB0D-8FB1-2D48-948C-6B5D32CC8CFC}" srcId="{9628219C-E266-9D40-A69C-0FCFA6936B1C}" destId="{985D38EC-84BD-C243-89F4-359D5E15AF48}" srcOrd="1" destOrd="0" parTransId="{F9117EF2-4940-7D43-AC3A-2AF409D42D77}" sibTransId="{BC35F252-7317-8A4E-9495-3177631FD047}"/>
    <dgm:cxn modelId="{0B1D9539-8C9C-4243-89D0-F572F1493C2A}" type="presOf" srcId="{9628219C-E266-9D40-A69C-0FCFA6936B1C}" destId="{9AD732F2-DEDD-714F-A71C-C03365FC37D0}" srcOrd="0" destOrd="0" presId="urn:microsoft.com/office/officeart/2005/8/layout/venn3"/>
    <dgm:cxn modelId="{F1D4BD39-F00C-374D-892E-43B9BD926328}" type="presOf" srcId="{7EE15E59-B9B3-794A-B4B0-2F4C7D58509A}" destId="{A0EE866E-33CE-AB4E-AC56-C616A712F58B}" srcOrd="0" destOrd="0" presId="urn:microsoft.com/office/officeart/2005/8/layout/venn3"/>
    <dgm:cxn modelId="{4B4C2EA5-0E90-4B40-9F37-B6017ACC6BBE}" type="presOf" srcId="{985D38EC-84BD-C243-89F4-359D5E15AF48}" destId="{973616BF-4280-4947-B0F9-B5423648A8CD}" srcOrd="0" destOrd="0" presId="urn:microsoft.com/office/officeart/2005/8/layout/venn3"/>
    <dgm:cxn modelId="{F03E3CE0-DD67-2141-A412-BE84FC8E5E16}" srcId="{9628219C-E266-9D40-A69C-0FCFA6936B1C}" destId="{7EE15E59-B9B3-794A-B4B0-2F4C7D58509A}" srcOrd="0" destOrd="0" parTransId="{CB824C22-7DFE-574B-A414-15FC626DD3EB}" sibTransId="{FC03E6AA-08F9-164E-A59B-24FFE547EE29}"/>
    <dgm:cxn modelId="{CC629372-965E-E843-8CCC-614C9D90E04A}" type="presParOf" srcId="{9AD732F2-DEDD-714F-A71C-C03365FC37D0}" destId="{A0EE866E-33CE-AB4E-AC56-C616A712F58B}" srcOrd="0" destOrd="0" presId="urn:microsoft.com/office/officeart/2005/8/layout/venn3"/>
    <dgm:cxn modelId="{6AAE7919-50BE-8E47-AC23-43BD63D80BAC}" type="presParOf" srcId="{9AD732F2-DEDD-714F-A71C-C03365FC37D0}" destId="{1A2DF9CF-E0D0-FF4B-81E3-641BD877598E}" srcOrd="1" destOrd="0" presId="urn:microsoft.com/office/officeart/2005/8/layout/venn3"/>
    <dgm:cxn modelId="{DEBEAD52-0202-004D-93C5-0699E41E5E3B}" type="presParOf" srcId="{9AD732F2-DEDD-714F-A71C-C03365FC37D0}" destId="{973616BF-4280-4947-B0F9-B5423648A8CD}" srcOrd="2" destOrd="0" presId="urn:microsoft.com/office/officeart/2005/8/layout/venn3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628219C-E266-9D40-A69C-0FCFA6936B1C}" type="doc">
      <dgm:prSet loTypeId="urn:microsoft.com/office/officeart/2005/8/layout/venn3" loCatId="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7EE15E59-B9B3-794A-B4B0-2F4C7D58509A}">
      <dgm:prSet phldrT="[Text]" custT="1"/>
      <dgm:spPr>
        <a:solidFill>
          <a:srgbClr val="10B8BC">
            <a:alpha val="10000"/>
          </a:srgbClr>
        </a:solidFill>
      </dgm:spPr>
      <dgm:t>
        <a:bodyPr/>
        <a:lstStyle/>
        <a:p>
          <a:r>
            <a:rPr lang="en-US" sz="1600" dirty="0"/>
            <a:t>1 person trained</a:t>
          </a:r>
        </a:p>
      </dgm:t>
    </dgm:pt>
    <dgm:pt modelId="{CB824C22-7DFE-574B-A414-15FC626DD3EB}" type="parTrans" cxnId="{F03E3CE0-DD67-2141-A412-BE84FC8E5E16}">
      <dgm:prSet/>
      <dgm:spPr/>
      <dgm:t>
        <a:bodyPr/>
        <a:lstStyle/>
        <a:p>
          <a:endParaRPr lang="en-US"/>
        </a:p>
      </dgm:t>
    </dgm:pt>
    <dgm:pt modelId="{FC03E6AA-08F9-164E-A59B-24FFE547EE29}" type="sibTrans" cxnId="{F03E3CE0-DD67-2141-A412-BE84FC8E5E16}">
      <dgm:prSet/>
      <dgm:spPr/>
      <dgm:t>
        <a:bodyPr/>
        <a:lstStyle/>
        <a:p>
          <a:endParaRPr lang="en-US"/>
        </a:p>
      </dgm:t>
    </dgm:pt>
    <dgm:pt modelId="{985D38EC-84BD-C243-89F4-359D5E15AF48}">
      <dgm:prSet custT="1"/>
      <dgm:spPr>
        <a:solidFill>
          <a:srgbClr val="10B8BC">
            <a:alpha val="10000"/>
          </a:srgbClr>
        </a:solidFill>
      </dgm:spPr>
      <dgm:t>
        <a:bodyPr/>
        <a:lstStyle/>
        <a:p>
          <a:pPr algn="l"/>
          <a:r>
            <a:rPr lang="en-GB" sz="1600" dirty="0"/>
            <a:t>Positively impacting the lives of 100 people experiencing mental health challenges</a:t>
          </a:r>
        </a:p>
      </dgm:t>
    </dgm:pt>
    <dgm:pt modelId="{F9117EF2-4940-7D43-AC3A-2AF409D42D77}" type="parTrans" cxnId="{3A17EB0D-8FB1-2D48-948C-6B5D32CC8CFC}">
      <dgm:prSet/>
      <dgm:spPr/>
      <dgm:t>
        <a:bodyPr/>
        <a:lstStyle/>
        <a:p>
          <a:endParaRPr lang="en-GB"/>
        </a:p>
      </dgm:t>
    </dgm:pt>
    <dgm:pt modelId="{BC35F252-7317-8A4E-9495-3177631FD047}" type="sibTrans" cxnId="{3A17EB0D-8FB1-2D48-948C-6B5D32CC8CFC}">
      <dgm:prSet/>
      <dgm:spPr/>
      <dgm:t>
        <a:bodyPr/>
        <a:lstStyle/>
        <a:p>
          <a:endParaRPr lang="en-GB"/>
        </a:p>
      </dgm:t>
    </dgm:pt>
    <dgm:pt modelId="{9AD732F2-DEDD-714F-A71C-C03365FC37D0}" type="pres">
      <dgm:prSet presAssocID="{9628219C-E266-9D40-A69C-0FCFA6936B1C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0EE866E-33CE-AB4E-AC56-C616A712F58B}" type="pres">
      <dgm:prSet presAssocID="{7EE15E59-B9B3-794A-B4B0-2F4C7D58509A}" presName="Name5" presStyleLbl="vennNode1" presStyleIdx="0" presStyleCnt="2" custScaleX="69758" custScaleY="27492" custLinFactX="-53736" custLinFactNeighborX="-100000" custLinFactNeighborY="-506">
        <dgm:presLayoutVars>
          <dgm:bulletEnabled val="1"/>
        </dgm:presLayoutVars>
      </dgm:prSet>
      <dgm:spPr>
        <a:prstGeom prst="rightArrow">
          <a:avLst/>
        </a:prstGeom>
      </dgm:spPr>
      <dgm:t>
        <a:bodyPr/>
        <a:lstStyle/>
        <a:p>
          <a:endParaRPr lang="en-US"/>
        </a:p>
      </dgm:t>
    </dgm:pt>
    <dgm:pt modelId="{1A2DF9CF-E0D0-FF4B-81E3-641BD877598E}" type="pres">
      <dgm:prSet presAssocID="{FC03E6AA-08F9-164E-A59B-24FFE547EE29}" presName="space" presStyleCnt="0"/>
      <dgm:spPr/>
    </dgm:pt>
    <dgm:pt modelId="{973616BF-4280-4947-B0F9-B5423648A8CD}" type="pres">
      <dgm:prSet presAssocID="{985D38EC-84BD-C243-89F4-359D5E15AF48}" presName="Name5" presStyleLbl="vennNode1" presStyleIdx="1" presStyleCnt="2" custScaleX="86252" custScaleY="27478" custLinFactNeighborX="58109" custLinFactNeighborY="-365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</dgm:ptLst>
  <dgm:cxnLst>
    <dgm:cxn modelId="{3A17EB0D-8FB1-2D48-948C-6B5D32CC8CFC}" srcId="{9628219C-E266-9D40-A69C-0FCFA6936B1C}" destId="{985D38EC-84BD-C243-89F4-359D5E15AF48}" srcOrd="1" destOrd="0" parTransId="{F9117EF2-4940-7D43-AC3A-2AF409D42D77}" sibTransId="{BC35F252-7317-8A4E-9495-3177631FD047}"/>
    <dgm:cxn modelId="{0B1D9539-8C9C-4243-89D0-F572F1493C2A}" type="presOf" srcId="{9628219C-E266-9D40-A69C-0FCFA6936B1C}" destId="{9AD732F2-DEDD-714F-A71C-C03365FC37D0}" srcOrd="0" destOrd="0" presId="urn:microsoft.com/office/officeart/2005/8/layout/venn3"/>
    <dgm:cxn modelId="{F1D4BD39-F00C-374D-892E-43B9BD926328}" type="presOf" srcId="{7EE15E59-B9B3-794A-B4B0-2F4C7D58509A}" destId="{A0EE866E-33CE-AB4E-AC56-C616A712F58B}" srcOrd="0" destOrd="0" presId="urn:microsoft.com/office/officeart/2005/8/layout/venn3"/>
    <dgm:cxn modelId="{4B4C2EA5-0E90-4B40-9F37-B6017ACC6BBE}" type="presOf" srcId="{985D38EC-84BD-C243-89F4-359D5E15AF48}" destId="{973616BF-4280-4947-B0F9-B5423648A8CD}" srcOrd="0" destOrd="0" presId="urn:microsoft.com/office/officeart/2005/8/layout/venn3"/>
    <dgm:cxn modelId="{F03E3CE0-DD67-2141-A412-BE84FC8E5E16}" srcId="{9628219C-E266-9D40-A69C-0FCFA6936B1C}" destId="{7EE15E59-B9B3-794A-B4B0-2F4C7D58509A}" srcOrd="0" destOrd="0" parTransId="{CB824C22-7DFE-574B-A414-15FC626DD3EB}" sibTransId="{FC03E6AA-08F9-164E-A59B-24FFE547EE29}"/>
    <dgm:cxn modelId="{CC629372-965E-E843-8CCC-614C9D90E04A}" type="presParOf" srcId="{9AD732F2-DEDD-714F-A71C-C03365FC37D0}" destId="{A0EE866E-33CE-AB4E-AC56-C616A712F58B}" srcOrd="0" destOrd="0" presId="urn:microsoft.com/office/officeart/2005/8/layout/venn3"/>
    <dgm:cxn modelId="{6AAE7919-50BE-8E47-AC23-43BD63D80BAC}" type="presParOf" srcId="{9AD732F2-DEDD-714F-A71C-C03365FC37D0}" destId="{1A2DF9CF-E0D0-FF4B-81E3-641BD877598E}" srcOrd="1" destOrd="0" presId="urn:microsoft.com/office/officeart/2005/8/layout/venn3"/>
    <dgm:cxn modelId="{DEBEAD52-0202-004D-93C5-0699E41E5E3B}" type="presParOf" srcId="{9AD732F2-DEDD-714F-A71C-C03365FC37D0}" destId="{973616BF-4280-4947-B0F9-B5423648A8CD}" srcOrd="2" destOrd="0" presId="urn:microsoft.com/office/officeart/2005/8/layout/venn3"/>
  </dgm:cxnLst>
  <dgm:bg>
    <a:noFill/>
  </dgm:bg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EE866E-33CE-AB4E-AC56-C616A712F58B}">
      <dsp:nvSpPr>
        <dsp:cNvPr id="0" name=""/>
        <dsp:cNvSpPr/>
      </dsp:nvSpPr>
      <dsp:spPr>
        <a:xfrm>
          <a:off x="0" y="0"/>
          <a:ext cx="3018052" cy="1189430"/>
        </a:xfrm>
        <a:prstGeom prst="rightArrow">
          <a:avLst/>
        </a:prstGeom>
        <a:solidFill>
          <a:srgbClr val="10B8BC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38100" tIns="20320" rIns="23810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/>
            <a:t>5 million people trained</a:t>
          </a:r>
        </a:p>
      </dsp:txBody>
      <dsp:txXfrm>
        <a:off x="0" y="297358"/>
        <a:ext cx="2720695" cy="594715"/>
      </dsp:txXfrm>
    </dsp:sp>
    <dsp:sp modelId="{973616BF-4280-4947-B0F9-B5423648A8CD}">
      <dsp:nvSpPr>
        <dsp:cNvPr id="0" name=""/>
        <dsp:cNvSpPr/>
      </dsp:nvSpPr>
      <dsp:spPr>
        <a:xfrm>
          <a:off x="3158381" y="767"/>
          <a:ext cx="3731658" cy="1188824"/>
        </a:xfrm>
        <a:prstGeom prst="rect">
          <a:avLst/>
        </a:prstGeom>
        <a:solidFill>
          <a:srgbClr val="10B8BC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38100" tIns="20320" rIns="238100" bIns="2032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dirty="0"/>
            <a:t>Improving the lives of 500 million people experiencing mental health challenges</a:t>
          </a:r>
        </a:p>
      </dsp:txBody>
      <dsp:txXfrm>
        <a:off x="3158381" y="767"/>
        <a:ext cx="3731658" cy="118882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EE866E-33CE-AB4E-AC56-C616A712F58B}">
      <dsp:nvSpPr>
        <dsp:cNvPr id="0" name=""/>
        <dsp:cNvSpPr/>
      </dsp:nvSpPr>
      <dsp:spPr>
        <a:xfrm>
          <a:off x="0" y="0"/>
          <a:ext cx="3018052" cy="1189430"/>
        </a:xfrm>
        <a:prstGeom prst="rightArrow">
          <a:avLst/>
        </a:prstGeom>
        <a:solidFill>
          <a:srgbClr val="10B8BC">
            <a:alpha val="1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38100" tIns="20320" rIns="23810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/>
            <a:t>1 person trained</a:t>
          </a:r>
        </a:p>
      </dsp:txBody>
      <dsp:txXfrm>
        <a:off x="0" y="297358"/>
        <a:ext cx="2720695" cy="594715"/>
      </dsp:txXfrm>
    </dsp:sp>
    <dsp:sp modelId="{973616BF-4280-4947-B0F9-B5423648A8CD}">
      <dsp:nvSpPr>
        <dsp:cNvPr id="0" name=""/>
        <dsp:cNvSpPr/>
      </dsp:nvSpPr>
      <dsp:spPr>
        <a:xfrm>
          <a:off x="3158381" y="0"/>
          <a:ext cx="3731658" cy="1188824"/>
        </a:xfrm>
        <a:prstGeom prst="rect">
          <a:avLst/>
        </a:prstGeom>
        <a:solidFill>
          <a:srgbClr val="10B8BC">
            <a:alpha val="1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38100" tIns="20320" rIns="238100" bIns="2032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kern="1200" dirty="0"/>
            <a:t>Positively impacting the lives of 100 people experiencing mental health challenges</a:t>
          </a:r>
        </a:p>
      </dsp:txBody>
      <dsp:txXfrm>
        <a:off x="3158381" y="0"/>
        <a:ext cx="3731658" cy="118882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3">
  <dgm:title val=""/>
  <dgm:desc val=""/>
  <dgm:catLst>
    <dgm:cat type="relationship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fallback" val="2D"/>
        </dgm:alg>
      </dgm:if>
      <dgm:else name="Name3">
        <dgm:alg type="lin">
          <dgm:param type="fallback" val="2D"/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refType="w" refFor="ch" refPtType="node"/>
      <dgm:constr type="w" for="ch" forName="space" refType="w" refFor="ch" refPtType="node" fact="-0.2"/>
      <dgm:constr type="primFontSz" for="ch" ptType="node" op="equ" val="65"/>
    </dgm:constrLst>
    <dgm:ruleLst/>
    <dgm:forEach name="Name4" axis="ch" ptType="node">
      <dgm:layoutNode name="Name5" styleLbl="vennNode1">
        <dgm:varLst>
          <dgm:bulletEnabled val="1"/>
        </dgm:varLst>
        <dgm:alg type="tx">
          <dgm:param type="txAnchorVertCh" val="mid"/>
          <dgm:param type="txAnchorHorzCh" val="ctr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tMarg" refType="primFontSz" fact="0.1"/>
          <dgm:constr type="bMarg" refType="primFontSz" fact="0.1"/>
          <dgm:constr type="lMarg" refType="w" fact="0.156"/>
          <dgm:constr type="rMarg" refType="w" fact="0.156"/>
        </dgm:constrLst>
        <dgm:ruleLst>
          <dgm:rule type="primFontSz" val="5" fact="NaN" max="NaN"/>
        </dgm:ruleLst>
      </dgm:layoutNode>
      <dgm:forEach name="Name6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3">
  <dgm:title val=""/>
  <dgm:desc val=""/>
  <dgm:catLst>
    <dgm:cat type="relationship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fallback" val="2D"/>
        </dgm:alg>
      </dgm:if>
      <dgm:else name="Name3">
        <dgm:alg type="lin">
          <dgm:param type="fallback" val="2D"/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refType="w" refFor="ch" refPtType="node"/>
      <dgm:constr type="w" for="ch" forName="space" refType="w" refFor="ch" refPtType="node" fact="-0.2"/>
      <dgm:constr type="primFontSz" for="ch" ptType="node" op="equ" val="65"/>
    </dgm:constrLst>
    <dgm:ruleLst/>
    <dgm:forEach name="Name4" axis="ch" ptType="node">
      <dgm:layoutNode name="Name5" styleLbl="vennNode1">
        <dgm:varLst>
          <dgm:bulletEnabled val="1"/>
        </dgm:varLst>
        <dgm:alg type="tx">
          <dgm:param type="txAnchorVertCh" val="mid"/>
          <dgm:param type="txAnchorHorzCh" val="ctr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tMarg" refType="primFontSz" fact="0.1"/>
          <dgm:constr type="bMarg" refType="primFontSz" fact="0.1"/>
          <dgm:constr type="lMarg" refType="w" fact="0.156"/>
          <dgm:constr type="rMarg" refType="w" fact="0.156"/>
        </dgm:constrLst>
        <dgm:ruleLst>
          <dgm:rule type="primFontSz" val="5" fact="NaN" max="NaN"/>
        </dgm:ruleLst>
      </dgm:layoutNode>
      <dgm:forEach name="Name6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90538" y="622300"/>
            <a:ext cx="5822950" cy="436721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86278" y="5334835"/>
            <a:ext cx="5232498" cy="12628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831531" y="9548098"/>
            <a:ext cx="187246" cy="184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018716" y="110937"/>
            <a:ext cx="65" cy="122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7016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701" indent="-116093" algn="l" defTabSz="89701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600" indent="-181313" algn="l" defTabSz="89701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832" indent="-125653" algn="l" defTabSz="89701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3937" indent="-114506" algn="l" defTabSz="89701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90262" algn="l" defTabSz="9160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8317" algn="l" defTabSz="9160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6370" algn="l" defTabSz="9160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64422" algn="l" defTabSz="91609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7">
            <a:extLst>
              <a:ext uri="{FF2B5EF4-FFF2-40B4-BE49-F238E27FC236}">
                <a16:creationId xmlns:a16="http://schemas.microsoft.com/office/drawing/2014/main" xmlns="" id="{79C8F737-C34D-420A-A783-E26AE639CC4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55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23788" indent="-37466588" defTabSz="9255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1413" indent="-227013" defTabSz="9255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598613" indent="-227013" defTabSz="9255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5813" indent="-227013" defTabSz="9255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3013" indent="-227013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0213" indent="-227013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7413" indent="-227013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4613" indent="-227013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255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A5183E1-D7F9-4065-9B43-5B92354FCCC6}" type="slidenum">
              <a:rPr kumimoji="0" lang="en-GB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ＭＳ Ｐゴシック" panose="020B0600070205080204" pitchFamily="34" charset="-128"/>
                <a:cs typeface="+mn-cs"/>
              </a:rPr>
              <a:pPr marL="0" marR="0" lvl="0" indent="0" algn="r" defTabSz="9255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5123" name="Rectangle 2">
            <a:extLst>
              <a:ext uri="{FF2B5EF4-FFF2-40B4-BE49-F238E27FC236}">
                <a16:creationId xmlns:a16="http://schemas.microsoft.com/office/drawing/2014/main" xmlns="" id="{52C6B8E2-FE09-4A4E-972F-FFC58222E24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112963" y="211138"/>
            <a:ext cx="2081212" cy="1560512"/>
          </a:xfrm>
          <a:ln/>
        </p:spPr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xmlns="" id="{A3B35A59-782A-4F47-83BD-D92F6EF2E1F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63625" y="673100"/>
            <a:ext cx="4681538" cy="351155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861683" y="9547862"/>
            <a:ext cx="157095" cy="18466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E5DD9D-6EB1-4E36-ABFD-B60F790E9F8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xmlns="" id="{490A61CA-1A01-44D9-862E-C08F99A364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4466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62063" y="601663"/>
            <a:ext cx="4660900" cy="262255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38481" y="8342708"/>
            <a:ext cx="157094" cy="18466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E5DD9D-6EB1-4E36-ABFD-B60F790E9F8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xmlns="" id="{C6D98BDE-0E23-481E-B3C9-F1748E22C63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8126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71575" y="49213"/>
            <a:ext cx="3897313" cy="2922587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E5DD9D-6EB1-4E36-ABFD-B60F790E9F86}" type="slidenum">
              <a:rPr lang="en-GB" smtClean="0"/>
              <a:t>12</a:t>
            </a:fld>
            <a:endParaRPr lang="en-GB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xmlns="" id="{7E07CC58-3271-43B5-96AF-8E328D53FA8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85253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562100" y="461963"/>
            <a:ext cx="3606800" cy="2705100"/>
          </a:xfrm>
          <a:ln/>
        </p:spPr>
      </p:sp>
      <p:sp>
        <p:nvSpPr>
          <p:cNvPr id="40964" name="Header Placeholder 3"/>
          <p:cNvSpPr>
            <a:spLocks noGrp="1"/>
          </p:cNvSpPr>
          <p:nvPr>
            <p:ph type="hdr" sz="quarter"/>
          </p:nvPr>
        </p:nvSpPr>
        <p:spPr>
          <a:noFill/>
        </p:spPr>
        <p:txBody>
          <a:bodyPr/>
          <a:lstStyle>
            <a:lvl1pPr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9775" indent="-28257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398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970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42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14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686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58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30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altLang="en-US"/>
              <a:t>World Health Organization</a:t>
            </a:r>
          </a:p>
        </p:txBody>
      </p:sp>
      <p:sp>
        <p:nvSpPr>
          <p:cNvPr id="40965" name="Date Placeholder 4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9775" indent="-28257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398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970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42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14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686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58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30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en-US" altLang="en-US" dirty="0"/>
          </a:p>
        </p:txBody>
      </p:sp>
      <p:sp>
        <p:nvSpPr>
          <p:cNvPr id="40966" name="Slide Number Placeholder 5"/>
          <p:cNvSpPr>
            <a:spLocks noGrp="1"/>
          </p:cNvSpPr>
          <p:nvPr>
            <p:ph type="sldNum" sz="quarter" idx="5"/>
          </p:nvPr>
        </p:nvSpPr>
        <p:spPr>
          <a:xfrm>
            <a:off x="5731933" y="9439476"/>
            <a:ext cx="635000" cy="329574"/>
          </a:xfrm>
          <a:noFill/>
        </p:spPr>
        <p:txBody>
          <a:bodyPr/>
          <a:lstStyle>
            <a:lvl1pPr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9775" indent="-28257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398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970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42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14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686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58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30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2208EA15-A24A-4CDE-A1E3-A60C2929E842}" type="slidenum">
              <a:rPr lang="en-US" altLang="en-US" smtClean="0"/>
              <a:pPr/>
              <a:t>13</a:t>
            </a:fld>
            <a:endParaRPr lang="en-US" altLang="en-US" dirty="0"/>
          </a:p>
        </p:txBody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xmlns="" id="{F926C666-DF87-4D80-8C30-D8F86F0C8A4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21190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22425" y="422275"/>
            <a:ext cx="3570288" cy="2676525"/>
          </a:xfrm>
        </p:spPr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xmlns="" id="{59AFFDD4-BFB8-44EB-987A-1D87DDDD168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6626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7"/>
          <p:cNvSpPr txBox="1">
            <a:spLocks noGrp="1" noChangeArrowheads="1"/>
          </p:cNvSpPr>
          <p:nvPr/>
        </p:nvSpPr>
        <p:spPr bwMode="auto">
          <a:xfrm>
            <a:off x="3076188" y="9283041"/>
            <a:ext cx="3033589" cy="464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16" tIns="45608" rIns="91216" bIns="45608" anchor="b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D61D6F9-5860-47C0-B646-391453540799}" type="slidenum">
              <a:rPr kumimoji="0" lang="en-US" altLang="fr-F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512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566863" y="271463"/>
            <a:ext cx="3432175" cy="2573337"/>
          </a:xfrm>
          <a:ln/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970D6435-1D59-4CE4-8DFC-A15E46EEFE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0527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97013" y="409575"/>
            <a:ext cx="3751262" cy="281305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xmlns="" id="{721AC1BF-4A22-4CD2-85F2-9B9B910FCC1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8145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 txBox="1">
            <a:spLocks noGrp="1" noChangeArrowheads="1"/>
          </p:cNvSpPr>
          <p:nvPr/>
        </p:nvSpPr>
        <p:spPr bwMode="auto">
          <a:xfrm>
            <a:off x="2617668" y="8995905"/>
            <a:ext cx="3038548" cy="464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1" tIns="45691" rIns="91381" bIns="45691" anchor="b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/>
            <a:fld id="{24E07A32-9A4E-455F-AA51-2E67E8A3C13E}" type="slidenum">
              <a:rPr lang="en-US" altLang="fr-FR" sz="1200">
                <a:solidFill>
                  <a:prstClr val="black"/>
                </a:solidFill>
                <a:ea typeface="MS PGothic" pitchFamily="34" charset="-128"/>
              </a:rPr>
              <a:pPr algn="r"/>
              <a:t>17</a:t>
            </a:fld>
            <a:endParaRPr lang="en-US" altLang="fr-FR" sz="1200" dirty="0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34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808163" y="88900"/>
            <a:ext cx="3173412" cy="2379663"/>
          </a:xfrm>
          <a:ln/>
        </p:spPr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xmlns="" id="{E1DEAB4C-309F-4F11-9402-13BFB6894E3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48611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95375" y="227013"/>
            <a:ext cx="4605338" cy="3452812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xmlns="" id="{A3214232-4CF7-4D84-B529-E1A723FDCA8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871750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065213" y="352425"/>
            <a:ext cx="4721225" cy="3540125"/>
          </a:xfrm>
          <a:ln/>
        </p:spPr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 defTabSz="9271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271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271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271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271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271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88F955D-9CB4-4998-87A7-1BC5ECC2C3EB}" type="slidenum">
              <a:rPr kumimoji="0" lang="en-US" alt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271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alt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xmlns="" id="{8F0ACD6D-518C-4B8E-B9F1-0413D41456E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6225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 txBox="1">
            <a:spLocks noGrp="1" noChangeArrowheads="1"/>
          </p:cNvSpPr>
          <p:nvPr/>
        </p:nvSpPr>
        <p:spPr bwMode="auto">
          <a:xfrm>
            <a:off x="2617668" y="8995905"/>
            <a:ext cx="3038548" cy="464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1" tIns="45691" rIns="91381" bIns="45691" anchor="b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/>
            <a:fld id="{24E07A32-9A4E-455F-AA51-2E67E8A3C13E}" type="slidenum">
              <a:rPr lang="en-US" altLang="fr-FR" sz="1200">
                <a:solidFill>
                  <a:prstClr val="black"/>
                </a:solidFill>
                <a:ea typeface="MS PGothic" pitchFamily="34" charset="-128"/>
              </a:rPr>
              <a:pPr algn="r"/>
              <a:t>2</a:t>
            </a:fld>
            <a:endParaRPr lang="en-US" altLang="fr-FR" sz="1200" dirty="0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34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503363" y="34925"/>
            <a:ext cx="3108325" cy="2330450"/>
          </a:xfrm>
          <a:ln/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4316C55B-00F0-4910-8330-0DF054B6601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030379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68438" y="180975"/>
            <a:ext cx="3860800" cy="28956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933817" y="9547862"/>
            <a:ext cx="84960" cy="184666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0E5DD9D-6EB1-4E36-ABFD-B60F790E9F8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xmlns="" id="{2CC84E0A-36B2-4AA5-A268-5F28C9D7208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07184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7"/>
          <p:cNvSpPr txBox="1">
            <a:spLocks noGrp="1" noChangeArrowheads="1"/>
          </p:cNvSpPr>
          <p:nvPr/>
        </p:nvSpPr>
        <p:spPr bwMode="auto">
          <a:xfrm>
            <a:off x="3081217" y="9294916"/>
            <a:ext cx="3038548" cy="464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2" tIns="45682" rIns="91362" bIns="45682" anchor="b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/>
            <a:fld id="{7D61D6F9-5860-47C0-B646-391453540799}" type="slidenum">
              <a:rPr lang="en-US" altLang="fr-FR" sz="1200">
                <a:solidFill>
                  <a:prstClr val="black"/>
                </a:solidFill>
                <a:ea typeface="MS PGothic" pitchFamily="34" charset="-128"/>
              </a:rPr>
              <a:pPr algn="r"/>
              <a:t>21</a:t>
            </a:fld>
            <a:endParaRPr lang="en-US" altLang="fr-FR" sz="1200" dirty="0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512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978025" y="323850"/>
            <a:ext cx="2841625" cy="2132013"/>
          </a:xfrm>
          <a:ln/>
        </p:spPr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xmlns="" id="{4E153F96-64CB-4058-BADE-BF3621B2CAD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06584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531938" y="588963"/>
            <a:ext cx="3744912" cy="2808287"/>
          </a:xfrm>
          <a:ln/>
        </p:spPr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 defTabSz="9271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271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271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271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271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D88F955D-9CB4-4998-87A7-1BC5ECC2C3EB}" type="slidenum">
              <a:rPr lang="en-US" altLang="fr-FR"/>
              <a:pPr/>
              <a:t>22</a:t>
            </a:fld>
            <a:endParaRPr lang="en-US" altLang="fr-FR"/>
          </a:p>
        </p:txBody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xmlns="" id="{112F4429-1D5B-4C41-8A3B-B2B881B7B04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672210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 txBox="1">
            <a:spLocks noGrp="1" noChangeArrowheads="1"/>
          </p:cNvSpPr>
          <p:nvPr/>
        </p:nvSpPr>
        <p:spPr bwMode="auto">
          <a:xfrm>
            <a:off x="2697139" y="8480048"/>
            <a:ext cx="3130797" cy="434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0" tIns="45696" rIns="91390" bIns="45696" anchor="b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4E07A32-9A4E-455F-AA51-2E67E8A3C13E}" type="slidenum">
              <a:rPr kumimoji="0" lang="en-US" altLang="fr-F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34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947863" y="98425"/>
            <a:ext cx="2655887" cy="1992313"/>
          </a:xfrm>
          <a:ln/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EB463BA0-FF0F-46CE-96C9-0BE35EDB4F2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03777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 txBox="1">
            <a:spLocks noGrp="1" noChangeArrowheads="1"/>
          </p:cNvSpPr>
          <p:nvPr/>
        </p:nvSpPr>
        <p:spPr bwMode="auto">
          <a:xfrm>
            <a:off x="2844485" y="8065646"/>
            <a:ext cx="2943677" cy="495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0" tIns="45696" rIns="91390" bIns="45696" anchor="b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4E07A32-9A4E-455F-AA51-2E67E8A3C13E}" type="slidenum">
              <a:rPr kumimoji="0" lang="en-US" altLang="fr-F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34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936750" y="207963"/>
            <a:ext cx="2711450" cy="2033587"/>
          </a:xfrm>
          <a:ln/>
        </p:spPr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xmlns="" id="{F2A128E5-4428-4595-B49B-E7C0A662CF4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711216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773363" y="-26988"/>
            <a:ext cx="1006475" cy="755651"/>
          </a:xfrm>
        </p:spPr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6031587" y="8922265"/>
            <a:ext cx="467184" cy="276163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689CEC3-5F79-5343-9571-A8C0408ABCDD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xmlns="" id="{94680F6F-48F8-4154-878B-C6BE7A2D925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513912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 txBox="1">
            <a:spLocks noGrp="1" noChangeArrowheads="1"/>
          </p:cNvSpPr>
          <p:nvPr/>
        </p:nvSpPr>
        <p:spPr bwMode="auto">
          <a:xfrm>
            <a:off x="2697139" y="8480048"/>
            <a:ext cx="3130797" cy="434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0" tIns="45696" rIns="91390" bIns="45696" anchor="b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4E07A32-9A4E-455F-AA51-2E67E8A3C13E}" type="slidenum">
              <a:rPr kumimoji="0" lang="en-US" altLang="fr-F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34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36688" y="376238"/>
            <a:ext cx="4130675" cy="2324100"/>
          </a:xfrm>
          <a:ln/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6860F4D5-063D-4150-B8EA-164E8C59BA3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18965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0288" y="752475"/>
            <a:ext cx="4351337" cy="32639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5848859" y="9547862"/>
            <a:ext cx="169918" cy="184666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69987F62-52F9-40D0-AFB4-80C90E35A7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36462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7">
            <a:extLst>
              <a:ext uri="{FF2B5EF4-FFF2-40B4-BE49-F238E27FC236}">
                <a16:creationId xmlns:a16="http://schemas.microsoft.com/office/drawing/2014/main" xmlns="" id="{79C8F737-C34D-420A-A783-E26AE639CC4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55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23788" indent="-37466588" defTabSz="9255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1413" indent="-227013" defTabSz="9255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598613" indent="-227013" defTabSz="9255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5813" indent="-227013" defTabSz="925513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3013" indent="-227013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0213" indent="-227013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7413" indent="-227013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4613" indent="-227013" defTabSz="9255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255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A5183E1-D7F9-4065-9B43-5B92354FCCC6}" type="slidenum">
              <a:rPr kumimoji="0" lang="en-GB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ＭＳ Ｐゴシック" panose="020B0600070205080204" pitchFamily="34" charset="-128"/>
                <a:cs typeface="+mn-cs"/>
              </a:rPr>
              <a:pPr marL="0" marR="0" lvl="0" indent="0" algn="r" defTabSz="9255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GB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5123" name="Rectangle 2">
            <a:extLst>
              <a:ext uri="{FF2B5EF4-FFF2-40B4-BE49-F238E27FC236}">
                <a16:creationId xmlns:a16="http://schemas.microsoft.com/office/drawing/2014/main" xmlns="" id="{52C6B8E2-FE09-4A4E-972F-FFC58222E24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530475" y="111125"/>
            <a:ext cx="1271588" cy="952500"/>
          </a:xfrm>
          <a:ln/>
        </p:spPr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xmlns="" id="{D220D442-A587-4357-9742-5A821177313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7279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466975" y="0"/>
            <a:ext cx="1630363" cy="1222375"/>
          </a:xfrm>
        </p:spPr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5924273" y="9535900"/>
            <a:ext cx="84682" cy="184194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xmlns="" id="{C16BCA70-D8FE-41F4-8057-00857F5B9F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26327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 txBox="1">
            <a:spLocks noGrp="1" noChangeArrowheads="1"/>
          </p:cNvSpPr>
          <p:nvPr/>
        </p:nvSpPr>
        <p:spPr bwMode="auto">
          <a:xfrm>
            <a:off x="2613394" y="8984412"/>
            <a:ext cx="3033589" cy="464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53" tIns="45627" rIns="91253" bIns="45627" anchor="b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/>
            <a:fld id="{24E07A32-9A4E-455F-AA51-2E67E8A3C13E}" type="slidenum">
              <a:rPr lang="en-US" altLang="fr-FR" sz="1200">
                <a:solidFill>
                  <a:prstClr val="black"/>
                </a:solidFill>
                <a:ea typeface="MS PGothic" pitchFamily="34" charset="-128"/>
              </a:rPr>
              <a:pPr algn="r"/>
              <a:t>4</a:t>
            </a:fld>
            <a:endParaRPr lang="en-US" altLang="fr-FR" sz="1200" dirty="0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34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746250" y="127000"/>
            <a:ext cx="3176588" cy="2381250"/>
          </a:xfrm>
          <a:ln/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29C86AAC-0100-48EF-A27F-D6ACAD3EF55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03037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357313" y="178435"/>
            <a:ext cx="4083050" cy="3063875"/>
          </a:xfrm>
          <a:ln/>
        </p:spPr>
      </p:sp>
      <p:sp>
        <p:nvSpPr>
          <p:cNvPr id="40964" name="Header Placeholder 3"/>
          <p:cNvSpPr>
            <a:spLocks noGrp="1"/>
          </p:cNvSpPr>
          <p:nvPr>
            <p:ph type="hdr" sz="quarter"/>
          </p:nvPr>
        </p:nvSpPr>
        <p:spPr>
          <a:noFill/>
        </p:spPr>
        <p:txBody>
          <a:bodyPr/>
          <a:lstStyle>
            <a:lvl1pPr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9775" indent="-28257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398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970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42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14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686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58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30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en-US" altLang="en-US" dirty="0"/>
          </a:p>
        </p:txBody>
      </p:sp>
      <p:sp>
        <p:nvSpPr>
          <p:cNvPr id="40965" name="Date Placeholder 4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9775" indent="-28257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398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970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42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14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686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58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30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en-US" altLang="en-US" dirty="0"/>
          </a:p>
        </p:txBody>
      </p:sp>
      <p:sp>
        <p:nvSpPr>
          <p:cNvPr id="40966" name="Slide Number Placeholder 5"/>
          <p:cNvSpPr>
            <a:spLocks noGrp="1"/>
          </p:cNvSpPr>
          <p:nvPr>
            <p:ph type="sldNum" sz="quarter" idx="5"/>
          </p:nvPr>
        </p:nvSpPr>
        <p:spPr>
          <a:xfrm>
            <a:off x="5731933" y="9439476"/>
            <a:ext cx="635000" cy="329574"/>
          </a:xfrm>
          <a:noFill/>
        </p:spPr>
        <p:txBody>
          <a:bodyPr/>
          <a:lstStyle>
            <a:lvl1pPr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9775" indent="-28257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398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970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42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14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686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58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30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2208EA15-A24A-4CDE-A1E3-A60C2929E842}" type="slidenum">
              <a:rPr lang="en-US" altLang="en-US" smtClean="0"/>
              <a:pPr/>
              <a:t>5</a:t>
            </a:fld>
            <a:endParaRPr lang="en-US" altLang="en-US" dirty="0"/>
          </a:p>
        </p:txBody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xmlns="" id="{B545686E-4982-48A5-A356-B271EAE5FA3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0530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381125" y="196850"/>
            <a:ext cx="3938588" cy="2952750"/>
          </a:xfrm>
          <a:ln/>
        </p:spPr>
      </p:sp>
      <p:sp>
        <p:nvSpPr>
          <p:cNvPr id="40964" name="Header Placeholder 3"/>
          <p:cNvSpPr>
            <a:spLocks noGrp="1"/>
          </p:cNvSpPr>
          <p:nvPr>
            <p:ph type="hdr" sz="quarter"/>
          </p:nvPr>
        </p:nvSpPr>
        <p:spPr>
          <a:noFill/>
        </p:spPr>
        <p:txBody>
          <a:bodyPr/>
          <a:lstStyle>
            <a:lvl1pPr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9775" indent="-28257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398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970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42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14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686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58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30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en-US" altLang="en-US" dirty="0"/>
          </a:p>
        </p:txBody>
      </p:sp>
      <p:sp>
        <p:nvSpPr>
          <p:cNvPr id="40965" name="Date Placeholder 4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9775" indent="-28257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398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970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42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14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686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58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30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en-US" altLang="en-US" dirty="0"/>
          </a:p>
        </p:txBody>
      </p:sp>
      <p:sp>
        <p:nvSpPr>
          <p:cNvPr id="40966" name="Slide Number Placeholder 5"/>
          <p:cNvSpPr>
            <a:spLocks noGrp="1"/>
          </p:cNvSpPr>
          <p:nvPr>
            <p:ph type="sldNum" sz="quarter" idx="5"/>
          </p:nvPr>
        </p:nvSpPr>
        <p:spPr>
          <a:xfrm>
            <a:off x="5731933" y="9439476"/>
            <a:ext cx="635000" cy="329574"/>
          </a:xfrm>
          <a:noFill/>
        </p:spPr>
        <p:txBody>
          <a:bodyPr/>
          <a:lstStyle>
            <a:lvl1pPr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9775" indent="-28257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398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970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42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14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686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58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30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2208EA15-A24A-4CDE-A1E3-A60C2929E842}" type="slidenum">
              <a:rPr lang="en-US" altLang="en-US" smtClean="0"/>
              <a:pPr/>
              <a:t>6</a:t>
            </a:fld>
            <a:endParaRPr lang="en-US" altLang="en-US" dirty="0"/>
          </a:p>
        </p:txBody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xmlns="" id="{3A5CAD6F-EC47-4732-8BAA-56D723D19D9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78876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516063" y="476250"/>
            <a:ext cx="3314700" cy="1865313"/>
          </a:xfrm>
          <a:ln/>
        </p:spPr>
      </p:sp>
      <p:sp>
        <p:nvSpPr>
          <p:cNvPr id="40964" name="Header Placeholder 3"/>
          <p:cNvSpPr>
            <a:spLocks noGrp="1"/>
          </p:cNvSpPr>
          <p:nvPr>
            <p:ph type="hdr" sz="quarter"/>
          </p:nvPr>
        </p:nvSpPr>
        <p:spPr>
          <a:noFill/>
        </p:spPr>
        <p:txBody>
          <a:bodyPr/>
          <a:lstStyle>
            <a:lvl1pPr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9775" indent="-28257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398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970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42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14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686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58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30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altLang="en-US"/>
              <a:t>World Health Organization</a:t>
            </a:r>
          </a:p>
        </p:txBody>
      </p:sp>
      <p:sp>
        <p:nvSpPr>
          <p:cNvPr id="40965" name="Date Placeholder 4"/>
          <p:cNvSpPr>
            <a:spLocks noGrp="1"/>
          </p:cNvSpPr>
          <p:nvPr>
            <p:ph type="dt" sz="quarter" idx="1"/>
          </p:nvPr>
        </p:nvSpPr>
        <p:spPr>
          <a:noFill/>
        </p:spPr>
        <p:txBody>
          <a:bodyPr/>
          <a:lstStyle>
            <a:lvl1pPr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9775" indent="-28257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398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970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42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14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686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58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30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en-US" altLang="en-US" dirty="0"/>
          </a:p>
        </p:txBody>
      </p:sp>
      <p:sp>
        <p:nvSpPr>
          <p:cNvPr id="40966" name="Slide Number Placeholder 5"/>
          <p:cNvSpPr>
            <a:spLocks noGrp="1"/>
          </p:cNvSpPr>
          <p:nvPr>
            <p:ph type="sldNum" sz="quarter" idx="5"/>
          </p:nvPr>
        </p:nvSpPr>
        <p:spPr>
          <a:xfrm>
            <a:off x="6475272" y="8956440"/>
            <a:ext cx="84959" cy="184666"/>
          </a:xfrm>
          <a:noFill/>
        </p:spPr>
        <p:txBody>
          <a:bodyPr/>
          <a:lstStyle>
            <a:lvl1pPr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39775" indent="-28257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398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970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4225" indent="-225425" defTabSz="923925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14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686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58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3025" indent="-225425" defTabSz="9239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2208EA15-A24A-4CDE-A1E3-A60C2929E842}" type="slidenum">
              <a:rPr lang="en-US" altLang="en-US" smtClean="0"/>
              <a:pPr/>
              <a:t>7</a:t>
            </a:fld>
            <a:endParaRPr lang="en-US" altLang="en-US" dirty="0"/>
          </a:p>
        </p:txBody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xmlns="" id="{FDBB81F8-0257-4476-B42B-CFE870B3DF4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59842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 txBox="1">
            <a:spLocks noGrp="1" noChangeArrowheads="1"/>
          </p:cNvSpPr>
          <p:nvPr/>
        </p:nvSpPr>
        <p:spPr bwMode="auto">
          <a:xfrm>
            <a:off x="2699584" y="8485844"/>
            <a:ext cx="3133636" cy="435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0" tIns="45696" rIns="91390" bIns="45696" anchor="b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4E07A32-9A4E-455F-AA51-2E67E8A3C13E}" type="slidenum">
              <a:rPr kumimoji="0" lang="en-US" altLang="fr-F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34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14450" y="288925"/>
            <a:ext cx="4300538" cy="3225800"/>
          </a:xfrm>
          <a:ln/>
        </p:spPr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xmlns="" id="{EBB746B1-BF8F-414B-9258-5E5027B549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08901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19250" y="234950"/>
            <a:ext cx="3511550" cy="2633663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22167" y="8928491"/>
            <a:ext cx="84960" cy="184666"/>
          </a:xfrm>
        </p:spPr>
        <p:txBody>
          <a:bodyPr/>
          <a:lstStyle/>
          <a:p>
            <a:fld id="{40E5DD9D-6EB1-4E36-ABFD-B60F790E9F86}" type="slidenum">
              <a:rPr lang="en-GB" smtClean="0"/>
              <a:t>9</a:t>
            </a:fld>
            <a:endParaRPr lang="en-GB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xmlns="" id="{80D4BC83-0190-44DB-8493-D8D09F016A2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88874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5.vml"/><Relationship Id="rId2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6" Type="http://schemas.openxmlformats.org/officeDocument/2006/relationships/image" Target="../media/image8.emf"/><Relationship Id="rId7" Type="http://schemas.openxmlformats.org/officeDocument/2006/relationships/image" Target="../media/image9.jpeg"/><Relationship Id="rId1" Type="http://schemas.openxmlformats.org/officeDocument/2006/relationships/vmlDrawing" Target="../drawings/vmlDrawing7.vml"/><Relationship Id="rId2" Type="http://schemas.openxmlformats.org/officeDocument/2006/relationships/tags" Target="../tags/tag4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8.vml"/><Relationship Id="rId2" Type="http://schemas.openxmlformats.org/officeDocument/2006/relationships/tags" Target="../tags/tag4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0.emf"/><Relationship Id="rId1" Type="http://schemas.openxmlformats.org/officeDocument/2006/relationships/vmlDrawing" Target="../drawings/vmlDrawing9.vml"/><Relationship Id="rId2" Type="http://schemas.openxmlformats.org/officeDocument/2006/relationships/tags" Target="../tags/tag4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1.bin"/><Relationship Id="rId6" Type="http://schemas.openxmlformats.org/officeDocument/2006/relationships/image" Target="../media/image3.emf"/><Relationship Id="rId7" Type="http://schemas.openxmlformats.org/officeDocument/2006/relationships/image" Target="../media/image8.emf"/><Relationship Id="rId8" Type="http://schemas.openxmlformats.org/officeDocument/2006/relationships/image" Target="../media/image12.jpeg"/><Relationship Id="rId1" Type="http://schemas.openxmlformats.org/officeDocument/2006/relationships/vmlDrawing" Target="../drawings/vmlDrawing11.vml"/><Relationship Id="rId2" Type="http://schemas.openxmlformats.org/officeDocument/2006/relationships/tags" Target="../tags/tag60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2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12.vml"/><Relationship Id="rId2" Type="http://schemas.openxmlformats.org/officeDocument/2006/relationships/tags" Target="../tags/tag6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13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13.vml"/><Relationship Id="rId2" Type="http://schemas.openxmlformats.org/officeDocument/2006/relationships/tags" Target="../tags/tag6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3.emf"/><Relationship Id="rId6" Type="http://schemas.openxmlformats.org/officeDocument/2006/relationships/image" Target="../media/image8.emf"/><Relationship Id="rId7" Type="http://schemas.openxmlformats.org/officeDocument/2006/relationships/image" Target="../media/image9.jpeg"/><Relationship Id="rId1" Type="http://schemas.openxmlformats.org/officeDocument/2006/relationships/vmlDrawing" Target="../drawings/vmlDrawing15.vml"/><Relationship Id="rId2" Type="http://schemas.openxmlformats.org/officeDocument/2006/relationships/tags" Target="../tags/tag8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4.vml"/><Relationship Id="rId2" Type="http://schemas.openxmlformats.org/officeDocument/2006/relationships/tags" Target="../tags/tag2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16.vml"/><Relationship Id="rId2" Type="http://schemas.openxmlformats.org/officeDocument/2006/relationships/tags" Target="../tags/tag8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17.vml"/><Relationship Id="rId2" Type="http://schemas.openxmlformats.org/officeDocument/2006/relationships/tags" Target="../tags/tag8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14.emf"/><Relationship Id="rId6" Type="http://schemas.openxmlformats.org/officeDocument/2006/relationships/image" Target="../media/image8.emf"/><Relationship Id="rId7" Type="http://schemas.openxmlformats.org/officeDocument/2006/relationships/image" Target="../media/image15.png"/><Relationship Id="rId1" Type="http://schemas.openxmlformats.org/officeDocument/2006/relationships/vmlDrawing" Target="../drawings/vmlDrawing19.vml"/><Relationship Id="rId2" Type="http://schemas.openxmlformats.org/officeDocument/2006/relationships/tags" Target="../tags/tag8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4" Type="http://schemas.openxmlformats.org/officeDocument/2006/relationships/slideMaster" Target="../slideMasters/slideMaster5.xml"/><Relationship Id="rId5" Type="http://schemas.openxmlformats.org/officeDocument/2006/relationships/oleObject" Target="../embeddings/oleObject20.bin"/><Relationship Id="rId6" Type="http://schemas.openxmlformats.org/officeDocument/2006/relationships/image" Target="../media/image14.emf"/><Relationship Id="rId1" Type="http://schemas.openxmlformats.org/officeDocument/2006/relationships/vmlDrawing" Target="../drawings/vmlDrawing20.vml"/><Relationship Id="rId2" Type="http://schemas.openxmlformats.org/officeDocument/2006/relationships/tags" Target="../tags/tag88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4" Type="http://schemas.openxmlformats.org/officeDocument/2006/relationships/tags" Target="../tags/tag92.xml"/><Relationship Id="rId5" Type="http://schemas.openxmlformats.org/officeDocument/2006/relationships/slideMaster" Target="../slideMasters/slideMaster5.xml"/><Relationship Id="rId6" Type="http://schemas.openxmlformats.org/officeDocument/2006/relationships/oleObject" Target="../embeddings/oleObject21.bin"/><Relationship Id="rId7" Type="http://schemas.openxmlformats.org/officeDocument/2006/relationships/image" Target="../media/image14.emf"/><Relationship Id="rId8" Type="http://schemas.openxmlformats.org/officeDocument/2006/relationships/image" Target="../media/image16.png"/><Relationship Id="rId1" Type="http://schemas.openxmlformats.org/officeDocument/2006/relationships/vmlDrawing" Target="../drawings/vmlDrawing21.vml"/><Relationship Id="rId2" Type="http://schemas.openxmlformats.org/officeDocument/2006/relationships/tags" Target="../tags/tag90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3.bin"/><Relationship Id="rId5" Type="http://schemas.openxmlformats.org/officeDocument/2006/relationships/image" Target="../media/image3.emf"/><Relationship Id="rId6" Type="http://schemas.openxmlformats.org/officeDocument/2006/relationships/image" Target="../media/image8.emf"/><Relationship Id="rId7" Type="http://schemas.openxmlformats.org/officeDocument/2006/relationships/image" Target="../media/image18.jpeg"/><Relationship Id="rId1" Type="http://schemas.openxmlformats.org/officeDocument/2006/relationships/vmlDrawing" Target="../drawings/vmlDrawing23.vml"/><Relationship Id="rId2" Type="http://schemas.openxmlformats.org/officeDocument/2006/relationships/tags" Target="../tags/tag110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4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24.vml"/><Relationship Id="rId2" Type="http://schemas.openxmlformats.org/officeDocument/2006/relationships/tags" Target="../tags/tag11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5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25.vml"/><Relationship Id="rId2" Type="http://schemas.openxmlformats.org/officeDocument/2006/relationships/tags" Target="../tags/tag11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27.bin"/><Relationship Id="rId6" Type="http://schemas.openxmlformats.org/officeDocument/2006/relationships/image" Target="../media/image3.emf"/><Relationship Id="rId7" Type="http://schemas.openxmlformats.org/officeDocument/2006/relationships/image" Target="../media/image8.emf"/><Relationship Id="rId8" Type="http://schemas.openxmlformats.org/officeDocument/2006/relationships/image" Target="../media/image12.jpeg"/><Relationship Id="rId1" Type="http://schemas.openxmlformats.org/officeDocument/2006/relationships/vmlDrawing" Target="../drawings/vmlDrawing27.vml"/><Relationship Id="rId2" Type="http://schemas.openxmlformats.org/officeDocument/2006/relationships/tags" Target="../tags/tag130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28.bin"/><Relationship Id="rId6" Type="http://schemas.openxmlformats.org/officeDocument/2006/relationships/image" Target="../media/image4.emf"/><Relationship Id="rId1" Type="http://schemas.openxmlformats.org/officeDocument/2006/relationships/vmlDrawing" Target="../drawings/vmlDrawing28.vml"/><Relationship Id="rId2" Type="http://schemas.openxmlformats.org/officeDocument/2006/relationships/tags" Target="../tags/tag13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29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29.vml"/><Relationship Id="rId2" Type="http://schemas.openxmlformats.org/officeDocument/2006/relationships/tags" Target="../tags/tag13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4" Type="http://schemas.openxmlformats.org/officeDocument/2006/relationships/slideMaster" Target="../slideMasters/slideMaster7.xml"/><Relationship Id="rId5" Type="http://schemas.openxmlformats.org/officeDocument/2006/relationships/oleObject" Target="../embeddings/oleObject30.bin"/><Relationship Id="rId6" Type="http://schemas.openxmlformats.org/officeDocument/2006/relationships/image" Target="../media/image14.emf"/><Relationship Id="rId7" Type="http://schemas.openxmlformats.org/officeDocument/2006/relationships/image" Target="../media/image19.png"/><Relationship Id="rId1" Type="http://schemas.openxmlformats.org/officeDocument/2006/relationships/vmlDrawing" Target="../drawings/vmlDrawing30.vml"/><Relationship Id="rId2" Type="http://schemas.openxmlformats.org/officeDocument/2006/relationships/tags" Target="../tags/tag13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2.vml"/><Relationship Id="rId2" Type="http://schemas.openxmlformats.org/officeDocument/2006/relationships/tags" Target="../tags/tag15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3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33.vml"/><Relationship Id="rId2" Type="http://schemas.openxmlformats.org/officeDocument/2006/relationships/tags" Target="../tags/tag15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4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34.vml"/><Relationship Id="rId2" Type="http://schemas.openxmlformats.org/officeDocument/2006/relationships/tags" Target="../tags/tag15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6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7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6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35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35.vml"/><Relationship Id="rId2" Type="http://schemas.openxmlformats.org/officeDocument/2006/relationships/tags" Target="../tags/tag15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4443705"/>
              </p:ext>
            </p:extLst>
          </p:nvPr>
        </p:nvGraphicFramePr>
        <p:xfrm>
          <a:off x="1797" y="180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97" y="180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766681" y="4955493"/>
            <a:ext cx="3776460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5773" y="1800000"/>
            <a:ext cx="4104000" cy="4237200"/>
          </a:xfrm>
          <a:solidFill>
            <a:srgbClr val="009CDE"/>
          </a:solidFill>
        </p:spPr>
        <p:txBody>
          <a:bodyPr lIns="144000" tIns="144000" rIns="144000" bIns="144000"/>
          <a:lstStyle>
            <a:lvl1pPr>
              <a:defRPr sz="1400"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59999" y="1800000"/>
            <a:ext cx="4104000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829A7516-E6F8-4BF1-9169-1AE6A8B4C4E1}" type="datetime1">
              <a:rPr lang="en-GB" noProof="0" smtClean="0"/>
              <a:t>11/03/2023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0165245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59999" y="1800000"/>
            <a:ext cx="8419773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631EE352-73CD-4388-84F2-249FAFD249D6}" type="datetime1">
              <a:rPr lang="en-GB" noProof="0" smtClean="0"/>
              <a:t>11/03/2023</a:t>
            </a:fld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9100417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Intro large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Date Placeholder 17"/>
          <p:cNvSpPr>
            <a:spLocks noGrp="1"/>
          </p:cNvSpPr>
          <p:nvPr>
            <p:ph type="dt" sz="half" idx="14"/>
          </p:nvPr>
        </p:nvSpPr>
        <p:spPr>
          <a:xfrm>
            <a:off x="359999" y="6588208"/>
            <a:ext cx="592501" cy="18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A826542-68AB-4EF5-B2B7-7C8D70871A17}" type="datetime1">
              <a:rPr lang="en-GB" noProof="0" smtClean="0"/>
              <a:pPr/>
              <a:t>11/03/2023</a:t>
            </a:fld>
            <a:endParaRPr lang="en-GB" noProof="0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5"/>
          </p:nvPr>
        </p:nvSpPr>
        <p:spPr>
          <a:xfrm>
            <a:off x="1044744" y="6588208"/>
            <a:ext cx="1698456" cy="180000"/>
          </a:xfrm>
          <a:prstGeom prst="rect">
            <a:avLst/>
          </a:prstGeom>
          <a:noFill/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6"/>
          </p:nvPr>
        </p:nvSpPr>
        <p:spPr>
          <a:xfrm>
            <a:off x="8562325" y="6588208"/>
            <a:ext cx="217448" cy="180000"/>
          </a:xfrm>
          <a:prstGeom prst="rect">
            <a:avLst/>
          </a:prstGeom>
          <a:noFill/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  <a:noFill/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One line Subtitle (optional)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359999" y="1800000"/>
            <a:ext cx="8419774" cy="4237200"/>
          </a:xfrm>
          <a:noFill/>
        </p:spPr>
        <p:txBody>
          <a:bodyPr lIns="0" tIns="0" rIns="0" bIns="0"/>
          <a:lstStyle>
            <a:lvl1pPr>
              <a:lnSpc>
                <a:spcPct val="110000"/>
              </a:lnSpc>
              <a:defRPr sz="1400" b="1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424814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Intro Imag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0" y="2"/>
            <a:ext cx="9144000" cy="6857999"/>
          </a:xfrm>
          <a:solidFill>
            <a:schemeClr val="bg1"/>
          </a:solidFill>
        </p:spPr>
        <p:txBody>
          <a:bodyPr wrap="square" tIns="1980000" bIns="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, then arrange object (send to back)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/>
          </p:nvPr>
        </p:nvSpPr>
        <p:spPr bwMode="gray">
          <a:xfrm>
            <a:off x="1" y="1800000"/>
            <a:ext cx="3209925" cy="1649446"/>
          </a:xfrm>
          <a:solidFill>
            <a:schemeClr val="tx2">
              <a:alpha val="90000"/>
            </a:schemeClr>
          </a:solidFill>
        </p:spPr>
        <p:txBody>
          <a:bodyPr lIns="360000" tIns="180000" rIns="360000" bIns="180000">
            <a:noAutofit/>
          </a:bodyPr>
          <a:lstStyle>
            <a:lvl1pPr>
              <a:defRPr sz="2800" b="1">
                <a:solidFill>
                  <a:schemeClr val="bg1"/>
                </a:solidFill>
                <a:latin typeface="+mj-lt"/>
              </a:defRPr>
            </a:lvl1pPr>
            <a:lvl2pPr marL="541338" indent="-274638">
              <a:buClr>
                <a:schemeClr val="bg1"/>
              </a:buClr>
              <a:defRPr sz="28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 bwMode="gray"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8AB999A-019E-47DF-9626-59D35A5C5D1F}" type="datetime1">
              <a:rPr lang="en-GB" noProof="0" smtClean="0"/>
              <a:t>11/03/2023</a:t>
            </a:fld>
            <a:endParaRPr lang="en-GB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 bwMode="gray"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|     Title of the pre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 bwMode="gray"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6803373" y="371958"/>
            <a:ext cx="1976400" cy="6948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438541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30"/>
          </p:nvPr>
        </p:nvSpPr>
        <p:spPr bwMode="gray"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99262F6C-3198-4C0D-9FD3-A522B66D4040}" type="datetime1">
              <a:rPr lang="en-GB" noProof="0" smtClean="0"/>
              <a:t>11/03/2023</a:t>
            </a:fld>
            <a:endParaRPr lang="en-GB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1"/>
          </p:nvPr>
        </p:nvSpPr>
        <p:spPr bwMode="gray"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2"/>
          </p:nvPr>
        </p:nvSpPr>
        <p:spPr bwMode="gray"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8" name="Rectangle 27"/>
          <p:cNvSpPr/>
          <p:nvPr userDrawn="1"/>
        </p:nvSpPr>
        <p:spPr bwMode="gray">
          <a:xfrm>
            <a:off x="360000" y="1800002"/>
            <a:ext cx="4775881" cy="1424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359999" y="2143683"/>
            <a:ext cx="741363" cy="396000"/>
          </a:xfrm>
        </p:spPr>
        <p:txBody>
          <a:bodyPr/>
          <a:lstStyle>
            <a:lvl1pPr>
              <a:defRPr sz="2800" b="1">
                <a:solidFill>
                  <a:srgbClr val="0092CC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 dirty="0"/>
              <a:t>01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1280578" y="2143683"/>
            <a:ext cx="385530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5574552" y="2143683"/>
            <a:ext cx="320522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 dirty="0"/>
              <a:t>Speaker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59999" y="2877928"/>
            <a:ext cx="741363" cy="396000"/>
          </a:xfrm>
        </p:spPr>
        <p:txBody>
          <a:bodyPr/>
          <a:lstStyle>
            <a:lvl1pPr>
              <a:defRPr sz="2800" b="1">
                <a:solidFill>
                  <a:srgbClr val="0092CC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2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7" hasCustomPrompt="1"/>
          </p:nvPr>
        </p:nvSpPr>
        <p:spPr>
          <a:xfrm>
            <a:off x="1280578" y="2877928"/>
            <a:ext cx="385530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5574552" y="2877928"/>
            <a:ext cx="320522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39" hasCustomPrompt="1"/>
          </p:nvPr>
        </p:nvSpPr>
        <p:spPr>
          <a:xfrm>
            <a:off x="359999" y="3612173"/>
            <a:ext cx="741363" cy="396000"/>
          </a:xfrm>
        </p:spPr>
        <p:txBody>
          <a:bodyPr/>
          <a:lstStyle>
            <a:lvl1pPr>
              <a:defRPr sz="2800" b="1">
                <a:solidFill>
                  <a:srgbClr val="0092CC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3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1280578" y="3612173"/>
            <a:ext cx="385530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5574552" y="3612173"/>
            <a:ext cx="320522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2" hasCustomPrompt="1"/>
          </p:nvPr>
        </p:nvSpPr>
        <p:spPr>
          <a:xfrm>
            <a:off x="359999" y="4346418"/>
            <a:ext cx="741363" cy="396000"/>
          </a:xfrm>
        </p:spPr>
        <p:txBody>
          <a:bodyPr/>
          <a:lstStyle>
            <a:lvl1pPr>
              <a:defRPr sz="2800" b="1">
                <a:solidFill>
                  <a:srgbClr val="0092CC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4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3" hasCustomPrompt="1"/>
          </p:nvPr>
        </p:nvSpPr>
        <p:spPr>
          <a:xfrm>
            <a:off x="1280578" y="4346418"/>
            <a:ext cx="385530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44" hasCustomPrompt="1"/>
          </p:nvPr>
        </p:nvSpPr>
        <p:spPr>
          <a:xfrm>
            <a:off x="5574552" y="4346418"/>
            <a:ext cx="320522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359999" y="5080663"/>
            <a:ext cx="741363" cy="396000"/>
          </a:xfrm>
        </p:spPr>
        <p:txBody>
          <a:bodyPr/>
          <a:lstStyle>
            <a:lvl1pPr>
              <a:defRPr sz="2800" b="1">
                <a:solidFill>
                  <a:srgbClr val="0092CC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5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1280578" y="5080663"/>
            <a:ext cx="385530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5574552" y="5080663"/>
            <a:ext cx="320522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359999" y="5814910"/>
            <a:ext cx="741363" cy="396000"/>
          </a:xfrm>
        </p:spPr>
        <p:txBody>
          <a:bodyPr/>
          <a:lstStyle>
            <a:lvl1pPr>
              <a:defRPr sz="2800" b="1">
                <a:solidFill>
                  <a:srgbClr val="0092CC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6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1280578" y="5814910"/>
            <a:ext cx="385530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5574552" y="5814910"/>
            <a:ext cx="320522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9690706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98F2AE24-6C3D-4363-8DA8-E9E849065A01}" type="datetime1">
              <a:rPr lang="en-GB" noProof="0" smtClean="0"/>
              <a:t>11/03/2023</a:t>
            </a:fld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44017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/>
          </a:solidFill>
        </p:spPr>
        <p:txBody>
          <a:bodyPr bIns="198000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accent6"/>
                </a:solidFill>
              </a:defRPr>
            </a:lvl1pPr>
          </a:lstStyle>
          <a:p>
            <a:r>
              <a:rPr lang="en-GB" noProof="0" dirty="0"/>
              <a:t>Click on Icon to add picture, then arrange object (send to back)</a:t>
            </a:r>
            <a:br>
              <a:rPr lang="en-GB" noProof="0" dirty="0"/>
            </a:br>
            <a:r>
              <a:rPr lang="en-GB" noProof="0" dirty="0"/>
              <a:t>Change picture either by 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60000" y="6507006"/>
            <a:ext cx="4478700" cy="247650"/>
          </a:xfrm>
        </p:spPr>
        <p:txBody>
          <a:bodyPr anchor="ctr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Name of Author  |  Function | Division | Country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" y="4482000"/>
            <a:ext cx="9143999" cy="1656000"/>
          </a:xfrm>
          <a:solidFill>
            <a:schemeClr val="tx2">
              <a:alpha val="90000"/>
            </a:schemeClr>
          </a:solidFill>
        </p:spPr>
        <p:txBody>
          <a:bodyPr lIns="360000" tIns="216000" rIns="360000" bIns="216000" numCol="3"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GB" noProof="0" dirty="0"/>
          </a:p>
        </p:txBody>
      </p:sp>
      <p:sp>
        <p:nvSpPr>
          <p:cNvPr id="35" name="Picture Placeholder 8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5595508" y="488563"/>
            <a:ext cx="3172871" cy="11124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  <p:sp>
        <p:nvSpPr>
          <p:cNvPr id="37" name="Text Placeholder 3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7121935" y="6476048"/>
            <a:ext cx="1646444" cy="247650"/>
          </a:xfrm>
        </p:spPr>
        <p:txBody>
          <a:bodyPr rIns="0" anchor="ctr">
            <a:noAutofit/>
          </a:bodyPr>
          <a:lstStyle>
            <a:lvl1pPr algn="ctr">
              <a:defRPr sz="1600" b="1" spc="0" baseline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www.who.int</a:t>
            </a:r>
          </a:p>
        </p:txBody>
      </p:sp>
      <p:sp>
        <p:nvSpPr>
          <p:cNvPr id="3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0" y="485184"/>
            <a:ext cx="5508000" cy="1119158"/>
          </a:xfrm>
          <a:noFill/>
        </p:spPr>
        <p:txBody>
          <a:bodyPr lIns="360000" tIns="72000" rIns="450000" bIns="180000" anchor="t" anchorCtr="0">
            <a:noAutofit/>
          </a:bodyPr>
          <a:lstStyle>
            <a:lvl1pPr algn="l">
              <a:lnSpc>
                <a:spcPct val="85000"/>
              </a:lnSpc>
              <a:defRPr sz="4200">
                <a:solidFill>
                  <a:srgbClr val="0092CC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86838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69" y="177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1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9" y="177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19" y="51841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489517" fontAlgn="base">
              <a:spcBef>
                <a:spcPct val="0"/>
              </a:spcBef>
              <a:spcAft>
                <a:spcPct val="0"/>
              </a:spcAft>
            </a:pPr>
            <a:endParaRPr lang="en-GB" sz="4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3109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537746-0849-4BEE-B36F-9D9D93B26438}" type="datetimeFigureOut">
              <a:rPr lang="en-GB" smtClean="0"/>
              <a:t>11/03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4B3278-631C-41C2-AF33-9CD77602E6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58563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9999" y="1800000"/>
            <a:ext cx="8424001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One line Subtitle (optional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5F5F25C-B8D8-45F9-9C80-5699EEACB709}" type="datetime1">
              <a:rPr lang="en-GB" smtClean="0">
                <a:solidFill>
                  <a:prstClr val="black"/>
                </a:solidFill>
              </a:rPr>
              <a:pPr/>
              <a:t>11/03/2023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|     Title of the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74CE0EA-F3B5-4684-BA10-C594598FDB9C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00173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6876607"/>
              </p:ext>
            </p:extLst>
          </p:nvPr>
        </p:nvGraphicFramePr>
        <p:xfrm>
          <a:off x="1768" y="176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8" y="176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1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7016"/>
            <a:endParaRPr lang="en-GB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4A642-A7AE-43BB-AE74-2FEBFD4A8F92}" type="datetimeFigureOut">
              <a:rPr lang="en-GB" smtClean="0"/>
              <a:t>11/03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026C0-092E-43B1-A13A-57FACEF63F2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93446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80401F3D-65B4-F347-BE3E-7A24ACA9FE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2990591"/>
            <a:ext cx="6858000" cy="519373"/>
          </a:xfrm>
        </p:spPr>
        <p:txBody>
          <a:bodyPr anchor="b"/>
          <a:lstStyle>
            <a:lvl1pPr algn="ctr">
              <a:defRPr sz="3375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xmlns="" id="{BE74B1A5-22DD-3A47-8AE8-5865915E878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9"/>
            <a:ext cx="6858000" cy="207749"/>
          </a:xfrm>
        </p:spPr>
        <p:txBody>
          <a:bodyPr/>
          <a:lstStyle>
            <a:lvl1pPr marL="0" indent="0" algn="ctr">
              <a:buNone/>
              <a:defRPr sz="1350"/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xmlns="" id="{2859B7F2-67E4-984A-B179-89B41B2BDD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47E1C9-305A-BC4A-85DB-DF3DAEAC1769}" type="datetimeFigureOut">
              <a:rPr lang="en-US" smtClean="0"/>
              <a:t>3/11/23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2078C799-09A3-CF46-82B1-3C7D2C628E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68282A22-1D66-5349-A20E-86642DA2F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8B6459-8DE5-9B48-AC15-53C1265310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2184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97" y="180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97" y="180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 noChangeArrowheads="1"/>
          </p:cNvPicPr>
          <p:nvPr/>
        </p:nvPicPr>
        <p:blipFill rotWithShape="1">
          <a:blip r:embed="rId6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71" t="15759" r="21330" b="5518"/>
          <a:stretch/>
        </p:blipFill>
        <p:spPr bwMode="auto">
          <a:xfrm>
            <a:off x="0" y="189589"/>
            <a:ext cx="3960124" cy="6668411"/>
          </a:xfrm>
          <a:custGeom>
            <a:avLst/>
            <a:gdLst>
              <a:gd name="connsiteX0" fmla="*/ 0 w 3960124"/>
              <a:gd name="connsiteY0" fmla="*/ 15822 h 6668411"/>
              <a:gd name="connsiteX1" fmla="*/ 1905001 w 3960124"/>
              <a:gd name="connsiteY1" fmla="*/ 15822 h 6668411"/>
              <a:gd name="connsiteX2" fmla="*/ 1905001 w 3960124"/>
              <a:gd name="connsiteY2" fmla="*/ 6668411 h 6668411"/>
              <a:gd name="connsiteX3" fmla="*/ 0 w 3960124"/>
              <a:gd name="connsiteY3" fmla="*/ 6668411 h 6668411"/>
              <a:gd name="connsiteX4" fmla="*/ 2438131 w 3960124"/>
              <a:gd name="connsiteY4" fmla="*/ 0 h 6668411"/>
              <a:gd name="connsiteX5" fmla="*/ 2422951 w 3960124"/>
              <a:gd name="connsiteY5" fmla="*/ 79922 h 6668411"/>
              <a:gd name="connsiteX6" fmla="*/ 3815509 w 3960124"/>
              <a:gd name="connsiteY6" fmla="*/ 6435006 h 6668411"/>
              <a:gd name="connsiteX7" fmla="*/ 3960124 w 3960124"/>
              <a:gd name="connsiteY7" fmla="*/ 6668410 h 6668411"/>
              <a:gd name="connsiteX8" fmla="*/ 1905003 w 3960124"/>
              <a:gd name="connsiteY8" fmla="*/ 6668410 h 6668411"/>
              <a:gd name="connsiteX9" fmla="*/ 1905003 w 3960124"/>
              <a:gd name="connsiteY9" fmla="*/ 13787 h 6668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60124" h="6668411">
                <a:moveTo>
                  <a:pt x="0" y="15822"/>
                </a:moveTo>
                <a:lnTo>
                  <a:pt x="1905001" y="15822"/>
                </a:lnTo>
                <a:lnTo>
                  <a:pt x="1905001" y="6668411"/>
                </a:lnTo>
                <a:lnTo>
                  <a:pt x="0" y="6668411"/>
                </a:lnTo>
                <a:close/>
                <a:moveTo>
                  <a:pt x="2438131" y="0"/>
                </a:moveTo>
                <a:lnTo>
                  <a:pt x="2422951" y="79922"/>
                </a:lnTo>
                <a:cubicBezTo>
                  <a:pt x="2068968" y="2080041"/>
                  <a:pt x="2413004" y="4118302"/>
                  <a:pt x="3815509" y="6435006"/>
                </a:cubicBezTo>
                <a:lnTo>
                  <a:pt x="3960124" y="6668410"/>
                </a:lnTo>
                <a:lnTo>
                  <a:pt x="1905003" y="6668410"/>
                </a:lnTo>
                <a:lnTo>
                  <a:pt x="1905003" y="13787"/>
                </a:lnTo>
                <a:close/>
              </a:path>
            </a:pathLst>
          </a:custGeom>
          <a:solidFill>
            <a:srgbClr val="4F81BD"/>
          </a:solidFill>
          <a:ln>
            <a:noFill/>
          </a:ln>
        </p:spPr>
      </p:pic>
      <p:sp>
        <p:nvSpPr>
          <p:cNvPr id="18" name="Freeform 17"/>
          <p:cNvSpPr/>
          <p:nvPr/>
        </p:nvSpPr>
        <p:spPr>
          <a:xfrm>
            <a:off x="24" y="-2"/>
            <a:ext cx="2475358" cy="205413"/>
          </a:xfrm>
          <a:custGeom>
            <a:avLst/>
            <a:gdLst>
              <a:gd name="connsiteX0" fmla="*/ 1905002 w 2475358"/>
              <a:gd name="connsiteY0" fmla="*/ 1 h 205413"/>
              <a:gd name="connsiteX1" fmla="*/ 2475358 w 2475358"/>
              <a:gd name="connsiteY1" fmla="*/ 1 h 205413"/>
              <a:gd name="connsiteX2" fmla="*/ 2465136 w 2475358"/>
              <a:gd name="connsiteY2" fmla="*/ 47898 h 205413"/>
              <a:gd name="connsiteX3" fmla="*/ 2438131 w 2475358"/>
              <a:gd name="connsiteY3" fmla="*/ 191488 h 205413"/>
              <a:gd name="connsiteX4" fmla="*/ 1905002 w 2475358"/>
              <a:gd name="connsiteY4" fmla="*/ 205413 h 205413"/>
              <a:gd name="connsiteX5" fmla="*/ 0 w 2475358"/>
              <a:gd name="connsiteY5" fmla="*/ 0 h 205413"/>
              <a:gd name="connsiteX6" fmla="*/ 1905001 w 2475358"/>
              <a:gd name="connsiteY6" fmla="*/ 0 h 205413"/>
              <a:gd name="connsiteX7" fmla="*/ 1905001 w 2475358"/>
              <a:gd name="connsiteY7" fmla="*/ 205413 h 205413"/>
              <a:gd name="connsiteX8" fmla="*/ 0 w 2475358"/>
              <a:gd name="connsiteY8" fmla="*/ 205413 h 205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75358" h="205413">
                <a:moveTo>
                  <a:pt x="1905002" y="1"/>
                </a:moveTo>
                <a:lnTo>
                  <a:pt x="2475358" y="1"/>
                </a:lnTo>
                <a:lnTo>
                  <a:pt x="2465136" y="47898"/>
                </a:lnTo>
                <a:lnTo>
                  <a:pt x="2438131" y="191488"/>
                </a:lnTo>
                <a:lnTo>
                  <a:pt x="1905002" y="205413"/>
                </a:lnTo>
                <a:close/>
                <a:moveTo>
                  <a:pt x="0" y="0"/>
                </a:moveTo>
                <a:lnTo>
                  <a:pt x="1905001" y="0"/>
                </a:lnTo>
                <a:lnTo>
                  <a:pt x="1905001" y="205413"/>
                </a:lnTo>
                <a:lnTo>
                  <a:pt x="0" y="20541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93" tIns="44901" rIns="89793" bIns="4490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Freeform 18"/>
          <p:cNvSpPr/>
          <p:nvPr/>
        </p:nvSpPr>
        <p:spPr>
          <a:xfrm rot="16200000" flipH="1" flipV="1">
            <a:off x="-129793" y="2575672"/>
            <a:ext cx="6674807" cy="1889853"/>
          </a:xfrm>
          <a:custGeom>
            <a:avLst/>
            <a:gdLst>
              <a:gd name="connsiteX0" fmla="*/ 1904026 w 8899742"/>
              <a:gd name="connsiteY0" fmla="*/ 2518940 h 2519803"/>
              <a:gd name="connsiteX1" fmla="*/ 115093 w 8899742"/>
              <a:gd name="connsiteY1" fmla="*/ 2347443 h 2519803"/>
              <a:gd name="connsiteX2" fmla="*/ 8530 w 8899742"/>
              <a:gd name="connsiteY2" fmla="*/ 2327202 h 2519803"/>
              <a:gd name="connsiteX3" fmla="*/ 0 w 8899742"/>
              <a:gd name="connsiteY3" fmla="*/ 1997387 h 2519803"/>
              <a:gd name="connsiteX4" fmla="*/ 8870941 w 8899742"/>
              <a:gd name="connsiteY4" fmla="*/ 19461 h 2519803"/>
              <a:gd name="connsiteX5" fmla="*/ 8899742 w 8899742"/>
              <a:gd name="connsiteY5" fmla="*/ 0 h 2519803"/>
              <a:gd name="connsiteX6" fmla="*/ 8899742 w 8899742"/>
              <a:gd name="connsiteY6" fmla="*/ 297879 h 2519803"/>
              <a:gd name="connsiteX7" fmla="*/ 8588537 w 8899742"/>
              <a:gd name="connsiteY7" fmla="*/ 490699 h 2519803"/>
              <a:gd name="connsiteX8" fmla="*/ 1904026 w 8899742"/>
              <a:gd name="connsiteY8" fmla="*/ 2518940 h 2519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99742" h="2519803">
                <a:moveTo>
                  <a:pt x="1904026" y="2518940"/>
                </a:moveTo>
                <a:cubicBezTo>
                  <a:pt x="1302860" y="2511250"/>
                  <a:pt x="707721" y="2452327"/>
                  <a:pt x="115093" y="2347443"/>
                </a:cubicBezTo>
                <a:lnTo>
                  <a:pt x="8530" y="2327202"/>
                </a:lnTo>
                <a:lnTo>
                  <a:pt x="0" y="1997387"/>
                </a:lnTo>
                <a:cubicBezTo>
                  <a:pt x="2777524" y="2631185"/>
                  <a:pt x="5587553" y="2192303"/>
                  <a:pt x="8870941" y="19461"/>
                </a:cubicBezTo>
                <a:lnTo>
                  <a:pt x="8899742" y="0"/>
                </a:lnTo>
                <a:lnTo>
                  <a:pt x="8899742" y="297879"/>
                </a:lnTo>
                <a:lnTo>
                  <a:pt x="8588537" y="490699"/>
                </a:lnTo>
                <a:cubicBezTo>
                  <a:pt x="6186029" y="1945148"/>
                  <a:pt x="4008109" y="2545853"/>
                  <a:pt x="1904026" y="2518940"/>
                </a:cubicBezTo>
                <a:close/>
              </a:path>
            </a:pathLst>
          </a:custGeom>
          <a:solidFill>
            <a:schemeClr val="accent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93" tIns="44901" rIns="89793" bIns="4490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Freeform 19"/>
          <p:cNvSpPr/>
          <p:nvPr/>
        </p:nvSpPr>
        <p:spPr>
          <a:xfrm rot="16200000" flipH="1" flipV="1">
            <a:off x="-1354134" y="1543752"/>
            <a:ext cx="6668411" cy="3960124"/>
          </a:xfrm>
          <a:custGeom>
            <a:avLst/>
            <a:gdLst>
              <a:gd name="connsiteX0" fmla="*/ 15822 w 6668411"/>
              <a:gd name="connsiteY0" fmla="*/ 3960124 h 3960124"/>
              <a:gd name="connsiteX1" fmla="*/ 15822 w 6668411"/>
              <a:gd name="connsiteY1" fmla="*/ 2055123 h 3960124"/>
              <a:gd name="connsiteX2" fmla="*/ 6668411 w 6668411"/>
              <a:gd name="connsiteY2" fmla="*/ 2055123 h 3960124"/>
              <a:gd name="connsiteX3" fmla="*/ 6668411 w 6668411"/>
              <a:gd name="connsiteY3" fmla="*/ 3960124 h 3960124"/>
              <a:gd name="connsiteX4" fmla="*/ 0 w 6668411"/>
              <a:gd name="connsiteY4" fmla="*/ 1521993 h 3960124"/>
              <a:gd name="connsiteX5" fmla="*/ 79922 w 6668411"/>
              <a:gd name="connsiteY5" fmla="*/ 1537173 h 3960124"/>
              <a:gd name="connsiteX6" fmla="*/ 6435006 w 6668411"/>
              <a:gd name="connsiteY6" fmla="*/ 144615 h 3960124"/>
              <a:gd name="connsiteX7" fmla="*/ 6668410 w 6668411"/>
              <a:gd name="connsiteY7" fmla="*/ 0 h 3960124"/>
              <a:gd name="connsiteX8" fmla="*/ 6668410 w 6668411"/>
              <a:gd name="connsiteY8" fmla="*/ 2055121 h 3960124"/>
              <a:gd name="connsiteX9" fmla="*/ 13787 w 6668411"/>
              <a:gd name="connsiteY9" fmla="*/ 2055121 h 396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68411" h="3960124">
                <a:moveTo>
                  <a:pt x="15822" y="3960124"/>
                </a:moveTo>
                <a:lnTo>
                  <a:pt x="15822" y="2055123"/>
                </a:lnTo>
                <a:lnTo>
                  <a:pt x="6668411" y="2055123"/>
                </a:lnTo>
                <a:lnTo>
                  <a:pt x="6668411" y="3960124"/>
                </a:lnTo>
                <a:close/>
                <a:moveTo>
                  <a:pt x="0" y="1521993"/>
                </a:moveTo>
                <a:lnTo>
                  <a:pt x="79922" y="1537173"/>
                </a:lnTo>
                <a:cubicBezTo>
                  <a:pt x="2080041" y="1891156"/>
                  <a:pt x="4118302" y="1547120"/>
                  <a:pt x="6435006" y="144615"/>
                </a:cubicBezTo>
                <a:lnTo>
                  <a:pt x="6668410" y="0"/>
                </a:lnTo>
                <a:lnTo>
                  <a:pt x="6668410" y="2055121"/>
                </a:lnTo>
                <a:lnTo>
                  <a:pt x="13787" y="2055121"/>
                </a:lnTo>
                <a:close/>
              </a:path>
            </a:pathLst>
          </a:custGeom>
          <a:solidFill>
            <a:schemeClr val="accent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93" tIns="44901" rIns="89793" bIns="4490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766681" y="2912934"/>
            <a:ext cx="3776460" cy="984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766681" y="4102704"/>
            <a:ext cx="3776460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766681" y="4955493"/>
            <a:ext cx="3776460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808080"/>
                </a:solidFill>
                <a:latin typeface="Calibri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8615949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11" name="Picture 4" descr="Image result for world health organisation logo png"/>
          <p:cNvPicPr>
            <a:picLocks noChangeAspect="1" noChangeArrowheads="1"/>
          </p:cNvPicPr>
          <p:nvPr userDrawn="1"/>
        </p:nvPicPr>
        <p:blipFill rotWithShape="1"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766689" y="1224975"/>
            <a:ext cx="2750655" cy="94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Connector 20"/>
          <p:cNvCxnSpPr>
            <a:cxnSpLocks/>
          </p:cNvCxnSpPr>
          <p:nvPr userDrawn="1"/>
        </p:nvCxnSpPr>
        <p:spPr>
          <a:xfrm flipH="1">
            <a:off x="3771241" y="4006419"/>
            <a:ext cx="3771900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6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30187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68" y="176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3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8" y="176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1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7016"/>
            <a:endParaRPr lang="en-US" sz="800" dirty="0">
              <a:solidFill>
                <a:srgbClr val="80808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596209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68" y="176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8" y="176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797860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7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7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8B8BF22-9561-414C-9315-643AAD11F5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auto"/>
            <a:endParaRPr lang="en-US" sz="3200" dirty="0" err="1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pic>
        <p:nvPicPr>
          <p:cNvPr id="17" name="Picture 16"/>
          <p:cNvPicPr>
            <a:picLocks noChangeAspect="1" noChangeArrowheads="1"/>
          </p:cNvPicPr>
          <p:nvPr/>
        </p:nvPicPr>
        <p:blipFill rotWithShape="1">
          <a:blip r:embed="rId7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71" t="15759" r="21330" b="5518"/>
          <a:stretch/>
        </p:blipFill>
        <p:spPr bwMode="auto">
          <a:xfrm>
            <a:off x="0" y="189590"/>
            <a:ext cx="3960124" cy="6668411"/>
          </a:xfrm>
          <a:custGeom>
            <a:avLst/>
            <a:gdLst>
              <a:gd name="connsiteX0" fmla="*/ 0 w 3960124"/>
              <a:gd name="connsiteY0" fmla="*/ 15822 h 6668411"/>
              <a:gd name="connsiteX1" fmla="*/ 1905001 w 3960124"/>
              <a:gd name="connsiteY1" fmla="*/ 15822 h 6668411"/>
              <a:gd name="connsiteX2" fmla="*/ 1905001 w 3960124"/>
              <a:gd name="connsiteY2" fmla="*/ 6668411 h 6668411"/>
              <a:gd name="connsiteX3" fmla="*/ 0 w 3960124"/>
              <a:gd name="connsiteY3" fmla="*/ 6668411 h 6668411"/>
              <a:gd name="connsiteX4" fmla="*/ 2438131 w 3960124"/>
              <a:gd name="connsiteY4" fmla="*/ 0 h 6668411"/>
              <a:gd name="connsiteX5" fmla="*/ 2422951 w 3960124"/>
              <a:gd name="connsiteY5" fmla="*/ 79922 h 6668411"/>
              <a:gd name="connsiteX6" fmla="*/ 3815509 w 3960124"/>
              <a:gd name="connsiteY6" fmla="*/ 6435006 h 6668411"/>
              <a:gd name="connsiteX7" fmla="*/ 3960124 w 3960124"/>
              <a:gd name="connsiteY7" fmla="*/ 6668410 h 6668411"/>
              <a:gd name="connsiteX8" fmla="*/ 1905003 w 3960124"/>
              <a:gd name="connsiteY8" fmla="*/ 6668410 h 6668411"/>
              <a:gd name="connsiteX9" fmla="*/ 1905003 w 3960124"/>
              <a:gd name="connsiteY9" fmla="*/ 13787 h 6668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60124" h="6668411">
                <a:moveTo>
                  <a:pt x="0" y="15822"/>
                </a:moveTo>
                <a:lnTo>
                  <a:pt x="1905001" y="15822"/>
                </a:lnTo>
                <a:lnTo>
                  <a:pt x="1905001" y="6668411"/>
                </a:lnTo>
                <a:lnTo>
                  <a:pt x="0" y="6668411"/>
                </a:lnTo>
                <a:close/>
                <a:moveTo>
                  <a:pt x="2438131" y="0"/>
                </a:moveTo>
                <a:lnTo>
                  <a:pt x="2422951" y="79922"/>
                </a:lnTo>
                <a:cubicBezTo>
                  <a:pt x="2068968" y="2080041"/>
                  <a:pt x="2413004" y="4118302"/>
                  <a:pt x="3815509" y="6435006"/>
                </a:cubicBezTo>
                <a:lnTo>
                  <a:pt x="3960124" y="6668410"/>
                </a:lnTo>
                <a:lnTo>
                  <a:pt x="1905003" y="6668410"/>
                </a:lnTo>
                <a:lnTo>
                  <a:pt x="1905003" y="13787"/>
                </a:lnTo>
                <a:close/>
              </a:path>
            </a:pathLst>
          </a:custGeom>
          <a:solidFill>
            <a:srgbClr val="4F81BD"/>
          </a:solidFill>
          <a:ln>
            <a:noFill/>
          </a:ln>
        </p:spPr>
      </p:pic>
      <p:sp>
        <p:nvSpPr>
          <p:cNvPr id="18" name="Freeform 17"/>
          <p:cNvSpPr/>
          <p:nvPr/>
        </p:nvSpPr>
        <p:spPr>
          <a:xfrm>
            <a:off x="-2" y="-2"/>
            <a:ext cx="2475358" cy="205413"/>
          </a:xfrm>
          <a:custGeom>
            <a:avLst/>
            <a:gdLst>
              <a:gd name="connsiteX0" fmla="*/ 1905002 w 2475358"/>
              <a:gd name="connsiteY0" fmla="*/ 1 h 205413"/>
              <a:gd name="connsiteX1" fmla="*/ 2475358 w 2475358"/>
              <a:gd name="connsiteY1" fmla="*/ 1 h 205413"/>
              <a:gd name="connsiteX2" fmla="*/ 2465136 w 2475358"/>
              <a:gd name="connsiteY2" fmla="*/ 47898 h 205413"/>
              <a:gd name="connsiteX3" fmla="*/ 2438131 w 2475358"/>
              <a:gd name="connsiteY3" fmla="*/ 191488 h 205413"/>
              <a:gd name="connsiteX4" fmla="*/ 1905002 w 2475358"/>
              <a:gd name="connsiteY4" fmla="*/ 205413 h 205413"/>
              <a:gd name="connsiteX5" fmla="*/ 0 w 2475358"/>
              <a:gd name="connsiteY5" fmla="*/ 0 h 205413"/>
              <a:gd name="connsiteX6" fmla="*/ 1905001 w 2475358"/>
              <a:gd name="connsiteY6" fmla="*/ 0 h 205413"/>
              <a:gd name="connsiteX7" fmla="*/ 1905001 w 2475358"/>
              <a:gd name="connsiteY7" fmla="*/ 205413 h 205413"/>
              <a:gd name="connsiteX8" fmla="*/ 0 w 2475358"/>
              <a:gd name="connsiteY8" fmla="*/ 205413 h 205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75358" h="205413">
                <a:moveTo>
                  <a:pt x="1905002" y="1"/>
                </a:moveTo>
                <a:lnTo>
                  <a:pt x="2475358" y="1"/>
                </a:lnTo>
                <a:lnTo>
                  <a:pt x="2465136" y="47898"/>
                </a:lnTo>
                <a:lnTo>
                  <a:pt x="2438131" y="191488"/>
                </a:lnTo>
                <a:lnTo>
                  <a:pt x="1905002" y="205413"/>
                </a:lnTo>
                <a:close/>
                <a:moveTo>
                  <a:pt x="0" y="0"/>
                </a:moveTo>
                <a:lnTo>
                  <a:pt x="1905001" y="0"/>
                </a:lnTo>
                <a:lnTo>
                  <a:pt x="1905001" y="205413"/>
                </a:lnTo>
                <a:lnTo>
                  <a:pt x="0" y="20541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9" name="Freeform 18"/>
          <p:cNvSpPr/>
          <p:nvPr/>
        </p:nvSpPr>
        <p:spPr>
          <a:xfrm rot="16200000" flipH="1" flipV="1">
            <a:off x="-129960" y="2575672"/>
            <a:ext cx="6674807" cy="1889853"/>
          </a:xfrm>
          <a:custGeom>
            <a:avLst/>
            <a:gdLst>
              <a:gd name="connsiteX0" fmla="*/ 1904026 w 8899742"/>
              <a:gd name="connsiteY0" fmla="*/ 2518940 h 2519803"/>
              <a:gd name="connsiteX1" fmla="*/ 115093 w 8899742"/>
              <a:gd name="connsiteY1" fmla="*/ 2347443 h 2519803"/>
              <a:gd name="connsiteX2" fmla="*/ 8530 w 8899742"/>
              <a:gd name="connsiteY2" fmla="*/ 2327202 h 2519803"/>
              <a:gd name="connsiteX3" fmla="*/ 0 w 8899742"/>
              <a:gd name="connsiteY3" fmla="*/ 1997387 h 2519803"/>
              <a:gd name="connsiteX4" fmla="*/ 8870941 w 8899742"/>
              <a:gd name="connsiteY4" fmla="*/ 19461 h 2519803"/>
              <a:gd name="connsiteX5" fmla="*/ 8899742 w 8899742"/>
              <a:gd name="connsiteY5" fmla="*/ 0 h 2519803"/>
              <a:gd name="connsiteX6" fmla="*/ 8899742 w 8899742"/>
              <a:gd name="connsiteY6" fmla="*/ 297879 h 2519803"/>
              <a:gd name="connsiteX7" fmla="*/ 8588537 w 8899742"/>
              <a:gd name="connsiteY7" fmla="*/ 490699 h 2519803"/>
              <a:gd name="connsiteX8" fmla="*/ 1904026 w 8899742"/>
              <a:gd name="connsiteY8" fmla="*/ 2518940 h 2519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99742" h="2519803">
                <a:moveTo>
                  <a:pt x="1904026" y="2518940"/>
                </a:moveTo>
                <a:cubicBezTo>
                  <a:pt x="1302860" y="2511250"/>
                  <a:pt x="707721" y="2452327"/>
                  <a:pt x="115093" y="2347443"/>
                </a:cubicBezTo>
                <a:lnTo>
                  <a:pt x="8530" y="2327202"/>
                </a:lnTo>
                <a:lnTo>
                  <a:pt x="0" y="1997387"/>
                </a:lnTo>
                <a:cubicBezTo>
                  <a:pt x="2777524" y="2631185"/>
                  <a:pt x="5587553" y="2192303"/>
                  <a:pt x="8870941" y="19461"/>
                </a:cubicBezTo>
                <a:lnTo>
                  <a:pt x="8899742" y="0"/>
                </a:lnTo>
                <a:lnTo>
                  <a:pt x="8899742" y="297879"/>
                </a:lnTo>
                <a:lnTo>
                  <a:pt x="8588537" y="490699"/>
                </a:lnTo>
                <a:cubicBezTo>
                  <a:pt x="6186029" y="1945148"/>
                  <a:pt x="4008109" y="2545853"/>
                  <a:pt x="1904026" y="2518940"/>
                </a:cubicBezTo>
                <a:close/>
              </a:path>
            </a:pathLst>
          </a:custGeom>
          <a:solidFill>
            <a:schemeClr val="accent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0" name="Freeform 19"/>
          <p:cNvSpPr/>
          <p:nvPr/>
        </p:nvSpPr>
        <p:spPr>
          <a:xfrm rot="16200000" flipH="1" flipV="1">
            <a:off x="-1354134" y="1543733"/>
            <a:ext cx="6668411" cy="3960124"/>
          </a:xfrm>
          <a:custGeom>
            <a:avLst/>
            <a:gdLst>
              <a:gd name="connsiteX0" fmla="*/ 15822 w 6668411"/>
              <a:gd name="connsiteY0" fmla="*/ 3960124 h 3960124"/>
              <a:gd name="connsiteX1" fmla="*/ 15822 w 6668411"/>
              <a:gd name="connsiteY1" fmla="*/ 2055123 h 3960124"/>
              <a:gd name="connsiteX2" fmla="*/ 6668411 w 6668411"/>
              <a:gd name="connsiteY2" fmla="*/ 2055123 h 3960124"/>
              <a:gd name="connsiteX3" fmla="*/ 6668411 w 6668411"/>
              <a:gd name="connsiteY3" fmla="*/ 3960124 h 3960124"/>
              <a:gd name="connsiteX4" fmla="*/ 0 w 6668411"/>
              <a:gd name="connsiteY4" fmla="*/ 1521993 h 3960124"/>
              <a:gd name="connsiteX5" fmla="*/ 79922 w 6668411"/>
              <a:gd name="connsiteY5" fmla="*/ 1537173 h 3960124"/>
              <a:gd name="connsiteX6" fmla="*/ 6435006 w 6668411"/>
              <a:gd name="connsiteY6" fmla="*/ 144615 h 3960124"/>
              <a:gd name="connsiteX7" fmla="*/ 6668410 w 6668411"/>
              <a:gd name="connsiteY7" fmla="*/ 0 h 3960124"/>
              <a:gd name="connsiteX8" fmla="*/ 6668410 w 6668411"/>
              <a:gd name="connsiteY8" fmla="*/ 2055121 h 3960124"/>
              <a:gd name="connsiteX9" fmla="*/ 13787 w 6668411"/>
              <a:gd name="connsiteY9" fmla="*/ 2055121 h 396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68411" h="3960124">
                <a:moveTo>
                  <a:pt x="15822" y="3960124"/>
                </a:moveTo>
                <a:lnTo>
                  <a:pt x="15822" y="2055123"/>
                </a:lnTo>
                <a:lnTo>
                  <a:pt x="6668411" y="2055123"/>
                </a:lnTo>
                <a:lnTo>
                  <a:pt x="6668411" y="3960124"/>
                </a:lnTo>
                <a:close/>
                <a:moveTo>
                  <a:pt x="0" y="1521993"/>
                </a:moveTo>
                <a:lnTo>
                  <a:pt x="79922" y="1537173"/>
                </a:lnTo>
                <a:cubicBezTo>
                  <a:pt x="2080041" y="1891156"/>
                  <a:pt x="4118302" y="1547120"/>
                  <a:pt x="6435006" y="144615"/>
                </a:cubicBezTo>
                <a:lnTo>
                  <a:pt x="6668410" y="0"/>
                </a:lnTo>
                <a:lnTo>
                  <a:pt x="6668410" y="2055121"/>
                </a:lnTo>
                <a:lnTo>
                  <a:pt x="13787" y="2055121"/>
                </a:lnTo>
                <a:close/>
              </a:path>
            </a:pathLst>
          </a:custGeom>
          <a:solidFill>
            <a:schemeClr val="accent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766681" y="2912957"/>
            <a:ext cx="3776460" cy="98488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766681" y="4102704"/>
            <a:ext cx="3776460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766681" y="4959869"/>
            <a:ext cx="377646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rgbClr val="808080"/>
                </a:solidFill>
                <a:latin typeface="Calibri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8615933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11" name="Picture 4" descr="Image result for world health organisation logo png"/>
          <p:cNvPicPr>
            <a:picLocks noChangeAspect="1" noChangeArrowheads="1"/>
          </p:cNvPicPr>
          <p:nvPr/>
        </p:nvPicPr>
        <p:blipFill rotWithShape="1"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766685" y="1224975"/>
            <a:ext cx="2750655" cy="94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Connector 20"/>
          <p:cNvCxnSpPr>
            <a:cxnSpLocks/>
          </p:cNvCxnSpPr>
          <p:nvPr/>
        </p:nvCxnSpPr>
        <p:spPr>
          <a:xfrm flipH="1">
            <a:off x="3771241" y="4006419"/>
            <a:ext cx="3771900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6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56507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0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9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CBAACD20-C548-4FC5-8FD8-38351FEB3E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auto"/>
            <a:endParaRPr lang="en-US" sz="2000" dirty="0" err="1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auto">
              <a:spcBef>
                <a:spcPts val="0"/>
              </a:spcBef>
              <a:spcAft>
                <a:spcPts val="0"/>
              </a:spcAft>
            </a:pPr>
            <a:endParaRPr lang="en-US" sz="816" dirty="0">
              <a:solidFill>
                <a:srgbClr val="80808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147074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7016981"/>
              </p:ext>
            </p:extLst>
          </p:nvPr>
        </p:nvGraphicFramePr>
        <p:xfrm>
          <a:off x="160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68DFFB7D-A765-4556-AA92-E436FEF054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auto"/>
            <a:endParaRPr lang="en-US" sz="2000" dirty="0" err="1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10483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544D17EF-B7DB-4FD6-A189-93CA4764AEE7}" type="datetimeFigureOut">
              <a:rPr lang="en-US" sz="1800" smtClean="0">
                <a:solidFill>
                  <a:srgbClr val="000000"/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3/11/23</a:t>
            </a:fld>
            <a:endParaRPr lang="en-US" sz="180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9A81DA35-06DE-42E3-8EAA-3ADDD8FEFCB4}" type="slidenum">
              <a:rPr lang="en-US" sz="1800" smtClean="0">
                <a:solidFill>
                  <a:srgbClr val="000000"/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80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809699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97" y="180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97" y="180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 noChangeArrowheads="1"/>
          </p:cNvPicPr>
          <p:nvPr/>
        </p:nvPicPr>
        <p:blipFill rotWithShape="1">
          <a:blip r:embed="rId6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71" t="15759" r="21330" b="5518"/>
          <a:stretch/>
        </p:blipFill>
        <p:spPr bwMode="auto">
          <a:xfrm>
            <a:off x="0" y="189589"/>
            <a:ext cx="3960124" cy="6668411"/>
          </a:xfrm>
          <a:custGeom>
            <a:avLst/>
            <a:gdLst>
              <a:gd name="connsiteX0" fmla="*/ 0 w 3960124"/>
              <a:gd name="connsiteY0" fmla="*/ 15822 h 6668411"/>
              <a:gd name="connsiteX1" fmla="*/ 1905001 w 3960124"/>
              <a:gd name="connsiteY1" fmla="*/ 15822 h 6668411"/>
              <a:gd name="connsiteX2" fmla="*/ 1905001 w 3960124"/>
              <a:gd name="connsiteY2" fmla="*/ 6668411 h 6668411"/>
              <a:gd name="connsiteX3" fmla="*/ 0 w 3960124"/>
              <a:gd name="connsiteY3" fmla="*/ 6668411 h 6668411"/>
              <a:gd name="connsiteX4" fmla="*/ 2438131 w 3960124"/>
              <a:gd name="connsiteY4" fmla="*/ 0 h 6668411"/>
              <a:gd name="connsiteX5" fmla="*/ 2422951 w 3960124"/>
              <a:gd name="connsiteY5" fmla="*/ 79922 h 6668411"/>
              <a:gd name="connsiteX6" fmla="*/ 3815509 w 3960124"/>
              <a:gd name="connsiteY6" fmla="*/ 6435006 h 6668411"/>
              <a:gd name="connsiteX7" fmla="*/ 3960124 w 3960124"/>
              <a:gd name="connsiteY7" fmla="*/ 6668410 h 6668411"/>
              <a:gd name="connsiteX8" fmla="*/ 1905003 w 3960124"/>
              <a:gd name="connsiteY8" fmla="*/ 6668410 h 6668411"/>
              <a:gd name="connsiteX9" fmla="*/ 1905003 w 3960124"/>
              <a:gd name="connsiteY9" fmla="*/ 13787 h 6668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60124" h="6668411">
                <a:moveTo>
                  <a:pt x="0" y="15822"/>
                </a:moveTo>
                <a:lnTo>
                  <a:pt x="1905001" y="15822"/>
                </a:lnTo>
                <a:lnTo>
                  <a:pt x="1905001" y="6668411"/>
                </a:lnTo>
                <a:lnTo>
                  <a:pt x="0" y="6668411"/>
                </a:lnTo>
                <a:close/>
                <a:moveTo>
                  <a:pt x="2438131" y="0"/>
                </a:moveTo>
                <a:lnTo>
                  <a:pt x="2422951" y="79922"/>
                </a:lnTo>
                <a:cubicBezTo>
                  <a:pt x="2068968" y="2080041"/>
                  <a:pt x="2413004" y="4118302"/>
                  <a:pt x="3815509" y="6435006"/>
                </a:cubicBezTo>
                <a:lnTo>
                  <a:pt x="3960124" y="6668410"/>
                </a:lnTo>
                <a:lnTo>
                  <a:pt x="1905003" y="6668410"/>
                </a:lnTo>
                <a:lnTo>
                  <a:pt x="1905003" y="13787"/>
                </a:lnTo>
                <a:close/>
              </a:path>
            </a:pathLst>
          </a:custGeom>
          <a:solidFill>
            <a:srgbClr val="4F81BD"/>
          </a:solidFill>
          <a:ln>
            <a:noFill/>
          </a:ln>
        </p:spPr>
      </p:pic>
      <p:sp>
        <p:nvSpPr>
          <p:cNvPr id="18" name="Freeform 17"/>
          <p:cNvSpPr/>
          <p:nvPr/>
        </p:nvSpPr>
        <p:spPr>
          <a:xfrm>
            <a:off x="24" y="-2"/>
            <a:ext cx="2475358" cy="205413"/>
          </a:xfrm>
          <a:custGeom>
            <a:avLst/>
            <a:gdLst>
              <a:gd name="connsiteX0" fmla="*/ 1905002 w 2475358"/>
              <a:gd name="connsiteY0" fmla="*/ 1 h 205413"/>
              <a:gd name="connsiteX1" fmla="*/ 2475358 w 2475358"/>
              <a:gd name="connsiteY1" fmla="*/ 1 h 205413"/>
              <a:gd name="connsiteX2" fmla="*/ 2465136 w 2475358"/>
              <a:gd name="connsiteY2" fmla="*/ 47898 h 205413"/>
              <a:gd name="connsiteX3" fmla="*/ 2438131 w 2475358"/>
              <a:gd name="connsiteY3" fmla="*/ 191488 h 205413"/>
              <a:gd name="connsiteX4" fmla="*/ 1905002 w 2475358"/>
              <a:gd name="connsiteY4" fmla="*/ 205413 h 205413"/>
              <a:gd name="connsiteX5" fmla="*/ 0 w 2475358"/>
              <a:gd name="connsiteY5" fmla="*/ 0 h 205413"/>
              <a:gd name="connsiteX6" fmla="*/ 1905001 w 2475358"/>
              <a:gd name="connsiteY6" fmla="*/ 0 h 205413"/>
              <a:gd name="connsiteX7" fmla="*/ 1905001 w 2475358"/>
              <a:gd name="connsiteY7" fmla="*/ 205413 h 205413"/>
              <a:gd name="connsiteX8" fmla="*/ 0 w 2475358"/>
              <a:gd name="connsiteY8" fmla="*/ 205413 h 205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75358" h="205413">
                <a:moveTo>
                  <a:pt x="1905002" y="1"/>
                </a:moveTo>
                <a:lnTo>
                  <a:pt x="2475358" y="1"/>
                </a:lnTo>
                <a:lnTo>
                  <a:pt x="2465136" y="47898"/>
                </a:lnTo>
                <a:lnTo>
                  <a:pt x="2438131" y="191488"/>
                </a:lnTo>
                <a:lnTo>
                  <a:pt x="1905002" y="205413"/>
                </a:lnTo>
                <a:close/>
                <a:moveTo>
                  <a:pt x="0" y="0"/>
                </a:moveTo>
                <a:lnTo>
                  <a:pt x="1905001" y="0"/>
                </a:lnTo>
                <a:lnTo>
                  <a:pt x="1905001" y="205413"/>
                </a:lnTo>
                <a:lnTo>
                  <a:pt x="0" y="20541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93" tIns="44901" rIns="89793" bIns="44901" rtlCol="0" anchor="ctr"/>
          <a:lstStyle/>
          <a:p>
            <a:pPr algn="ctr"/>
            <a:endParaRPr lang="en-US"/>
          </a:p>
        </p:txBody>
      </p:sp>
      <p:sp>
        <p:nvSpPr>
          <p:cNvPr id="19" name="Freeform 18"/>
          <p:cNvSpPr/>
          <p:nvPr/>
        </p:nvSpPr>
        <p:spPr>
          <a:xfrm rot="16200000" flipH="1" flipV="1">
            <a:off x="-129793" y="2575672"/>
            <a:ext cx="6674807" cy="1889853"/>
          </a:xfrm>
          <a:custGeom>
            <a:avLst/>
            <a:gdLst>
              <a:gd name="connsiteX0" fmla="*/ 1904026 w 8899742"/>
              <a:gd name="connsiteY0" fmla="*/ 2518940 h 2519803"/>
              <a:gd name="connsiteX1" fmla="*/ 115093 w 8899742"/>
              <a:gd name="connsiteY1" fmla="*/ 2347443 h 2519803"/>
              <a:gd name="connsiteX2" fmla="*/ 8530 w 8899742"/>
              <a:gd name="connsiteY2" fmla="*/ 2327202 h 2519803"/>
              <a:gd name="connsiteX3" fmla="*/ 0 w 8899742"/>
              <a:gd name="connsiteY3" fmla="*/ 1997387 h 2519803"/>
              <a:gd name="connsiteX4" fmla="*/ 8870941 w 8899742"/>
              <a:gd name="connsiteY4" fmla="*/ 19461 h 2519803"/>
              <a:gd name="connsiteX5" fmla="*/ 8899742 w 8899742"/>
              <a:gd name="connsiteY5" fmla="*/ 0 h 2519803"/>
              <a:gd name="connsiteX6" fmla="*/ 8899742 w 8899742"/>
              <a:gd name="connsiteY6" fmla="*/ 297879 h 2519803"/>
              <a:gd name="connsiteX7" fmla="*/ 8588537 w 8899742"/>
              <a:gd name="connsiteY7" fmla="*/ 490699 h 2519803"/>
              <a:gd name="connsiteX8" fmla="*/ 1904026 w 8899742"/>
              <a:gd name="connsiteY8" fmla="*/ 2518940 h 2519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99742" h="2519803">
                <a:moveTo>
                  <a:pt x="1904026" y="2518940"/>
                </a:moveTo>
                <a:cubicBezTo>
                  <a:pt x="1302860" y="2511250"/>
                  <a:pt x="707721" y="2452327"/>
                  <a:pt x="115093" y="2347443"/>
                </a:cubicBezTo>
                <a:lnTo>
                  <a:pt x="8530" y="2327202"/>
                </a:lnTo>
                <a:lnTo>
                  <a:pt x="0" y="1997387"/>
                </a:lnTo>
                <a:cubicBezTo>
                  <a:pt x="2777524" y="2631185"/>
                  <a:pt x="5587553" y="2192303"/>
                  <a:pt x="8870941" y="19461"/>
                </a:cubicBezTo>
                <a:lnTo>
                  <a:pt x="8899742" y="0"/>
                </a:lnTo>
                <a:lnTo>
                  <a:pt x="8899742" y="297879"/>
                </a:lnTo>
                <a:lnTo>
                  <a:pt x="8588537" y="490699"/>
                </a:lnTo>
                <a:cubicBezTo>
                  <a:pt x="6186029" y="1945148"/>
                  <a:pt x="4008109" y="2545853"/>
                  <a:pt x="1904026" y="2518940"/>
                </a:cubicBezTo>
                <a:close/>
              </a:path>
            </a:pathLst>
          </a:custGeom>
          <a:solidFill>
            <a:schemeClr val="accent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93" tIns="44901" rIns="89793" bIns="44901" rtlCol="0" anchor="ctr"/>
          <a:lstStyle/>
          <a:p>
            <a:pPr algn="ctr"/>
            <a:endParaRPr lang="en-US"/>
          </a:p>
        </p:txBody>
      </p:sp>
      <p:sp>
        <p:nvSpPr>
          <p:cNvPr id="20" name="Freeform 19"/>
          <p:cNvSpPr/>
          <p:nvPr/>
        </p:nvSpPr>
        <p:spPr>
          <a:xfrm rot="16200000" flipH="1" flipV="1">
            <a:off x="-1354134" y="1543752"/>
            <a:ext cx="6668411" cy="3960124"/>
          </a:xfrm>
          <a:custGeom>
            <a:avLst/>
            <a:gdLst>
              <a:gd name="connsiteX0" fmla="*/ 15822 w 6668411"/>
              <a:gd name="connsiteY0" fmla="*/ 3960124 h 3960124"/>
              <a:gd name="connsiteX1" fmla="*/ 15822 w 6668411"/>
              <a:gd name="connsiteY1" fmla="*/ 2055123 h 3960124"/>
              <a:gd name="connsiteX2" fmla="*/ 6668411 w 6668411"/>
              <a:gd name="connsiteY2" fmla="*/ 2055123 h 3960124"/>
              <a:gd name="connsiteX3" fmla="*/ 6668411 w 6668411"/>
              <a:gd name="connsiteY3" fmla="*/ 3960124 h 3960124"/>
              <a:gd name="connsiteX4" fmla="*/ 0 w 6668411"/>
              <a:gd name="connsiteY4" fmla="*/ 1521993 h 3960124"/>
              <a:gd name="connsiteX5" fmla="*/ 79922 w 6668411"/>
              <a:gd name="connsiteY5" fmla="*/ 1537173 h 3960124"/>
              <a:gd name="connsiteX6" fmla="*/ 6435006 w 6668411"/>
              <a:gd name="connsiteY6" fmla="*/ 144615 h 3960124"/>
              <a:gd name="connsiteX7" fmla="*/ 6668410 w 6668411"/>
              <a:gd name="connsiteY7" fmla="*/ 0 h 3960124"/>
              <a:gd name="connsiteX8" fmla="*/ 6668410 w 6668411"/>
              <a:gd name="connsiteY8" fmla="*/ 2055121 h 3960124"/>
              <a:gd name="connsiteX9" fmla="*/ 13787 w 6668411"/>
              <a:gd name="connsiteY9" fmla="*/ 2055121 h 396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68411" h="3960124">
                <a:moveTo>
                  <a:pt x="15822" y="3960124"/>
                </a:moveTo>
                <a:lnTo>
                  <a:pt x="15822" y="2055123"/>
                </a:lnTo>
                <a:lnTo>
                  <a:pt x="6668411" y="2055123"/>
                </a:lnTo>
                <a:lnTo>
                  <a:pt x="6668411" y="3960124"/>
                </a:lnTo>
                <a:close/>
                <a:moveTo>
                  <a:pt x="0" y="1521993"/>
                </a:moveTo>
                <a:lnTo>
                  <a:pt x="79922" y="1537173"/>
                </a:lnTo>
                <a:cubicBezTo>
                  <a:pt x="2080041" y="1891156"/>
                  <a:pt x="4118302" y="1547120"/>
                  <a:pt x="6435006" y="144615"/>
                </a:cubicBezTo>
                <a:lnTo>
                  <a:pt x="6668410" y="0"/>
                </a:lnTo>
                <a:lnTo>
                  <a:pt x="6668410" y="2055121"/>
                </a:lnTo>
                <a:lnTo>
                  <a:pt x="13787" y="2055121"/>
                </a:lnTo>
                <a:close/>
              </a:path>
            </a:pathLst>
          </a:custGeom>
          <a:solidFill>
            <a:schemeClr val="accent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93" tIns="44901" rIns="89793" bIns="44901" rtlCol="0" anchor="ctr"/>
          <a:lstStyle/>
          <a:p>
            <a:pPr algn="ctr"/>
            <a:endParaRPr lang="en-US"/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766681" y="2912934"/>
            <a:ext cx="3776460" cy="984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766681" y="4102704"/>
            <a:ext cx="3776460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766681" y="4955493"/>
            <a:ext cx="3776460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8615949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GB" sz="800" baseline="0" dirty="0">
              <a:solidFill>
                <a:srgbClr val="FFFFFF"/>
              </a:solidFill>
              <a:latin typeface="+mn-lt"/>
            </a:endParaRPr>
          </a:p>
        </p:txBody>
      </p:sp>
      <p:pic>
        <p:nvPicPr>
          <p:cNvPr id="11" name="Picture 4" descr="Image result for world health organisation logo png"/>
          <p:cNvPicPr>
            <a:picLocks noChangeAspect="1" noChangeArrowheads="1"/>
          </p:cNvPicPr>
          <p:nvPr/>
        </p:nvPicPr>
        <p:blipFill rotWithShape="1"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766689" y="1224975"/>
            <a:ext cx="2750655" cy="94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Connector 20"/>
          <p:cNvCxnSpPr>
            <a:cxnSpLocks/>
          </p:cNvCxnSpPr>
          <p:nvPr/>
        </p:nvCxnSpPr>
        <p:spPr>
          <a:xfrm flipH="1">
            <a:off x="3771241" y="4006419"/>
            <a:ext cx="3771900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6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18426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0146760"/>
              </p:ext>
            </p:extLst>
          </p:nvPr>
        </p:nvGraphicFramePr>
        <p:xfrm>
          <a:off x="1768" y="176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8" y="176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1458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68" y="176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5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8" y="176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1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7016"/>
            <a:endParaRPr lang="en-GB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954949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68" y="176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8" y="176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759835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7" name="think-cell Slide" r:id="rId4" imgW="476" imgH="357" progId="TCLayout.ActiveDocument.1">
                  <p:embed/>
                </p:oleObj>
              </mc:Choice>
              <mc:Fallback>
                <p:oleObj name="think-cell Slide" r:id="rId4" imgW="476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1" name="Group 30"/>
          <p:cNvGrpSpPr/>
          <p:nvPr userDrawn="1"/>
        </p:nvGrpSpPr>
        <p:grpSpPr>
          <a:xfrm>
            <a:off x="0" y="0"/>
            <a:ext cx="3614738" cy="6858002"/>
            <a:chOff x="-2" y="-2"/>
            <a:chExt cx="4152360" cy="6858002"/>
          </a:xfrm>
        </p:grpSpPr>
        <p:pic>
          <p:nvPicPr>
            <p:cNvPr id="32" name="Picture 31"/>
            <p:cNvPicPr>
              <a:picLocks noChangeAspect="1" noChangeArrowheads="1"/>
            </p:cNvPicPr>
            <p:nvPr/>
          </p:nvPicPr>
          <p:blipFill rotWithShape="1">
            <a:blip r:embed="rId6" cstate="screen">
              <a:duotone>
                <a:prstClr val="black"/>
                <a:srgbClr val="7DDAF3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1571" t="15759" r="21330" b="5518"/>
            <a:stretch/>
          </p:blipFill>
          <p:spPr bwMode="auto">
            <a:xfrm>
              <a:off x="0" y="189589"/>
              <a:ext cx="3960124" cy="6668411"/>
            </a:xfrm>
            <a:custGeom>
              <a:avLst/>
              <a:gdLst>
                <a:gd name="connsiteX0" fmla="*/ 0 w 3960124"/>
                <a:gd name="connsiteY0" fmla="*/ 15822 h 6668411"/>
                <a:gd name="connsiteX1" fmla="*/ 1905001 w 3960124"/>
                <a:gd name="connsiteY1" fmla="*/ 15822 h 6668411"/>
                <a:gd name="connsiteX2" fmla="*/ 1905001 w 3960124"/>
                <a:gd name="connsiteY2" fmla="*/ 6668411 h 6668411"/>
                <a:gd name="connsiteX3" fmla="*/ 0 w 3960124"/>
                <a:gd name="connsiteY3" fmla="*/ 6668411 h 6668411"/>
                <a:gd name="connsiteX4" fmla="*/ 2438131 w 3960124"/>
                <a:gd name="connsiteY4" fmla="*/ 0 h 6668411"/>
                <a:gd name="connsiteX5" fmla="*/ 2422951 w 3960124"/>
                <a:gd name="connsiteY5" fmla="*/ 79922 h 6668411"/>
                <a:gd name="connsiteX6" fmla="*/ 3815509 w 3960124"/>
                <a:gd name="connsiteY6" fmla="*/ 6435006 h 6668411"/>
                <a:gd name="connsiteX7" fmla="*/ 3960124 w 3960124"/>
                <a:gd name="connsiteY7" fmla="*/ 6668410 h 6668411"/>
                <a:gd name="connsiteX8" fmla="*/ 1905003 w 3960124"/>
                <a:gd name="connsiteY8" fmla="*/ 6668410 h 6668411"/>
                <a:gd name="connsiteX9" fmla="*/ 1905003 w 3960124"/>
                <a:gd name="connsiteY9" fmla="*/ 13787 h 6668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60124" h="6668411">
                  <a:moveTo>
                    <a:pt x="0" y="15822"/>
                  </a:moveTo>
                  <a:lnTo>
                    <a:pt x="1905001" y="15822"/>
                  </a:lnTo>
                  <a:lnTo>
                    <a:pt x="1905001" y="6668411"/>
                  </a:lnTo>
                  <a:lnTo>
                    <a:pt x="0" y="6668411"/>
                  </a:lnTo>
                  <a:close/>
                  <a:moveTo>
                    <a:pt x="2438131" y="0"/>
                  </a:moveTo>
                  <a:lnTo>
                    <a:pt x="2422951" y="79922"/>
                  </a:lnTo>
                  <a:cubicBezTo>
                    <a:pt x="2068968" y="2080041"/>
                    <a:pt x="2413004" y="4118302"/>
                    <a:pt x="3815509" y="6435006"/>
                  </a:cubicBezTo>
                  <a:lnTo>
                    <a:pt x="3960124" y="6668410"/>
                  </a:lnTo>
                  <a:lnTo>
                    <a:pt x="1905003" y="6668410"/>
                  </a:lnTo>
                  <a:lnTo>
                    <a:pt x="1905003" y="13787"/>
                  </a:lnTo>
                  <a:close/>
                </a:path>
              </a:pathLst>
            </a:custGeom>
            <a:solidFill>
              <a:srgbClr val="4F81BD"/>
            </a:solidFill>
            <a:ln>
              <a:noFill/>
            </a:ln>
          </p:spPr>
        </p:pic>
        <p:sp>
          <p:nvSpPr>
            <p:cNvPr id="33" name="Freeform 32"/>
            <p:cNvSpPr/>
            <p:nvPr/>
          </p:nvSpPr>
          <p:spPr>
            <a:xfrm>
              <a:off x="-2" y="-2"/>
              <a:ext cx="2475358" cy="205413"/>
            </a:xfrm>
            <a:custGeom>
              <a:avLst/>
              <a:gdLst>
                <a:gd name="connsiteX0" fmla="*/ 1905002 w 2475358"/>
                <a:gd name="connsiteY0" fmla="*/ 1 h 205413"/>
                <a:gd name="connsiteX1" fmla="*/ 2475358 w 2475358"/>
                <a:gd name="connsiteY1" fmla="*/ 1 h 205413"/>
                <a:gd name="connsiteX2" fmla="*/ 2465136 w 2475358"/>
                <a:gd name="connsiteY2" fmla="*/ 47898 h 205413"/>
                <a:gd name="connsiteX3" fmla="*/ 2438131 w 2475358"/>
                <a:gd name="connsiteY3" fmla="*/ 191488 h 205413"/>
                <a:gd name="connsiteX4" fmla="*/ 1905002 w 2475358"/>
                <a:gd name="connsiteY4" fmla="*/ 205413 h 205413"/>
                <a:gd name="connsiteX5" fmla="*/ 0 w 2475358"/>
                <a:gd name="connsiteY5" fmla="*/ 0 h 205413"/>
                <a:gd name="connsiteX6" fmla="*/ 1905001 w 2475358"/>
                <a:gd name="connsiteY6" fmla="*/ 0 h 205413"/>
                <a:gd name="connsiteX7" fmla="*/ 1905001 w 2475358"/>
                <a:gd name="connsiteY7" fmla="*/ 205413 h 205413"/>
                <a:gd name="connsiteX8" fmla="*/ 0 w 2475358"/>
                <a:gd name="connsiteY8" fmla="*/ 205413 h 205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75358" h="205413">
                  <a:moveTo>
                    <a:pt x="1905002" y="1"/>
                  </a:moveTo>
                  <a:lnTo>
                    <a:pt x="2475358" y="1"/>
                  </a:lnTo>
                  <a:lnTo>
                    <a:pt x="2465136" y="47898"/>
                  </a:lnTo>
                  <a:lnTo>
                    <a:pt x="2438131" y="191488"/>
                  </a:lnTo>
                  <a:lnTo>
                    <a:pt x="1905002" y="205413"/>
                  </a:lnTo>
                  <a:close/>
                  <a:moveTo>
                    <a:pt x="0" y="0"/>
                  </a:moveTo>
                  <a:lnTo>
                    <a:pt x="1905001" y="0"/>
                  </a:lnTo>
                  <a:lnTo>
                    <a:pt x="1905001" y="205413"/>
                  </a:lnTo>
                  <a:lnTo>
                    <a:pt x="0" y="205413"/>
                  </a:lnTo>
                  <a:close/>
                </a:path>
              </a:pathLst>
            </a:custGeom>
            <a:solidFill>
              <a:srgbClr val="004A9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06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4" name="Freeform 33"/>
            <p:cNvSpPr/>
            <p:nvPr/>
          </p:nvSpPr>
          <p:spPr>
            <a:xfrm rot="16200000" flipH="1" flipV="1">
              <a:off x="-129972" y="2575670"/>
              <a:ext cx="6674807" cy="1889853"/>
            </a:xfrm>
            <a:custGeom>
              <a:avLst/>
              <a:gdLst>
                <a:gd name="connsiteX0" fmla="*/ 1904026 w 8899742"/>
                <a:gd name="connsiteY0" fmla="*/ 2518940 h 2519803"/>
                <a:gd name="connsiteX1" fmla="*/ 115093 w 8899742"/>
                <a:gd name="connsiteY1" fmla="*/ 2347443 h 2519803"/>
                <a:gd name="connsiteX2" fmla="*/ 8530 w 8899742"/>
                <a:gd name="connsiteY2" fmla="*/ 2327202 h 2519803"/>
                <a:gd name="connsiteX3" fmla="*/ 0 w 8899742"/>
                <a:gd name="connsiteY3" fmla="*/ 1997387 h 2519803"/>
                <a:gd name="connsiteX4" fmla="*/ 8870941 w 8899742"/>
                <a:gd name="connsiteY4" fmla="*/ 19461 h 2519803"/>
                <a:gd name="connsiteX5" fmla="*/ 8899742 w 8899742"/>
                <a:gd name="connsiteY5" fmla="*/ 0 h 2519803"/>
                <a:gd name="connsiteX6" fmla="*/ 8899742 w 8899742"/>
                <a:gd name="connsiteY6" fmla="*/ 297879 h 2519803"/>
                <a:gd name="connsiteX7" fmla="*/ 8588537 w 8899742"/>
                <a:gd name="connsiteY7" fmla="*/ 490699 h 2519803"/>
                <a:gd name="connsiteX8" fmla="*/ 1904026 w 8899742"/>
                <a:gd name="connsiteY8" fmla="*/ 2518940 h 251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99742" h="2519803">
                  <a:moveTo>
                    <a:pt x="1904026" y="2518940"/>
                  </a:moveTo>
                  <a:cubicBezTo>
                    <a:pt x="1302860" y="2511250"/>
                    <a:pt x="707721" y="2452327"/>
                    <a:pt x="115093" y="2347443"/>
                  </a:cubicBezTo>
                  <a:lnTo>
                    <a:pt x="8530" y="2327202"/>
                  </a:lnTo>
                  <a:lnTo>
                    <a:pt x="0" y="1997387"/>
                  </a:lnTo>
                  <a:cubicBezTo>
                    <a:pt x="2777524" y="2631185"/>
                    <a:pt x="5587553" y="2192303"/>
                    <a:pt x="8870941" y="19461"/>
                  </a:cubicBezTo>
                  <a:lnTo>
                    <a:pt x="8899742" y="0"/>
                  </a:lnTo>
                  <a:lnTo>
                    <a:pt x="8899742" y="297879"/>
                  </a:lnTo>
                  <a:lnTo>
                    <a:pt x="8588537" y="490699"/>
                  </a:lnTo>
                  <a:cubicBezTo>
                    <a:pt x="6186029" y="1945148"/>
                    <a:pt x="4008109" y="2545853"/>
                    <a:pt x="1904026" y="2518940"/>
                  </a:cubicBezTo>
                  <a:close/>
                </a:path>
              </a:pathLst>
            </a:custGeom>
            <a:solidFill>
              <a:srgbClr val="018ECB">
                <a:alpha val="87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06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35" name="Freeform 34"/>
            <p:cNvSpPr/>
            <p:nvPr/>
          </p:nvSpPr>
          <p:spPr>
            <a:xfrm rot="16200000" flipH="1" flipV="1">
              <a:off x="-1354144" y="1543733"/>
              <a:ext cx="6668411" cy="3960124"/>
            </a:xfrm>
            <a:custGeom>
              <a:avLst/>
              <a:gdLst>
                <a:gd name="connsiteX0" fmla="*/ 15822 w 6668411"/>
                <a:gd name="connsiteY0" fmla="*/ 3960124 h 3960124"/>
                <a:gd name="connsiteX1" fmla="*/ 15822 w 6668411"/>
                <a:gd name="connsiteY1" fmla="*/ 2055123 h 3960124"/>
                <a:gd name="connsiteX2" fmla="*/ 6668411 w 6668411"/>
                <a:gd name="connsiteY2" fmla="*/ 2055123 h 3960124"/>
                <a:gd name="connsiteX3" fmla="*/ 6668411 w 6668411"/>
                <a:gd name="connsiteY3" fmla="*/ 3960124 h 3960124"/>
                <a:gd name="connsiteX4" fmla="*/ 0 w 6668411"/>
                <a:gd name="connsiteY4" fmla="*/ 1521993 h 3960124"/>
                <a:gd name="connsiteX5" fmla="*/ 79922 w 6668411"/>
                <a:gd name="connsiteY5" fmla="*/ 1537173 h 3960124"/>
                <a:gd name="connsiteX6" fmla="*/ 6435006 w 6668411"/>
                <a:gd name="connsiteY6" fmla="*/ 144615 h 3960124"/>
                <a:gd name="connsiteX7" fmla="*/ 6668410 w 6668411"/>
                <a:gd name="connsiteY7" fmla="*/ 0 h 3960124"/>
                <a:gd name="connsiteX8" fmla="*/ 6668410 w 6668411"/>
                <a:gd name="connsiteY8" fmla="*/ 2055121 h 3960124"/>
                <a:gd name="connsiteX9" fmla="*/ 13787 w 6668411"/>
                <a:gd name="connsiteY9" fmla="*/ 2055121 h 3960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8411" h="3960124">
                  <a:moveTo>
                    <a:pt x="15822" y="3960124"/>
                  </a:moveTo>
                  <a:lnTo>
                    <a:pt x="15822" y="2055123"/>
                  </a:lnTo>
                  <a:lnTo>
                    <a:pt x="6668411" y="2055123"/>
                  </a:lnTo>
                  <a:lnTo>
                    <a:pt x="6668411" y="3960124"/>
                  </a:lnTo>
                  <a:close/>
                  <a:moveTo>
                    <a:pt x="0" y="1521993"/>
                  </a:moveTo>
                  <a:lnTo>
                    <a:pt x="79922" y="1537173"/>
                  </a:lnTo>
                  <a:cubicBezTo>
                    <a:pt x="2080041" y="1891156"/>
                    <a:pt x="4118302" y="1547120"/>
                    <a:pt x="6435006" y="144615"/>
                  </a:cubicBezTo>
                  <a:lnTo>
                    <a:pt x="6668410" y="0"/>
                  </a:lnTo>
                  <a:lnTo>
                    <a:pt x="6668410" y="2055121"/>
                  </a:lnTo>
                  <a:lnTo>
                    <a:pt x="13787" y="2055121"/>
                  </a:lnTo>
                  <a:close/>
                </a:path>
              </a:pathLst>
            </a:custGeom>
            <a:solidFill>
              <a:srgbClr val="018ECB">
                <a:alpha val="87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06" kern="0" dirty="0">
                <a:solidFill>
                  <a:srgbClr val="FFFFFF"/>
                </a:solidFill>
                <a:latin typeface="Calibri"/>
              </a:endParaRPr>
            </a:p>
          </p:txBody>
        </p:sp>
      </p:grp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3791164" y="2947493"/>
            <a:ext cx="4430731" cy="1250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4062" b="0" i="0" u="none" strike="noStrike" kern="0" cap="none" spc="0" normalizeH="0" baseline="0" dirty="0">
                <a:ln>
                  <a:noFill/>
                </a:ln>
                <a:solidFill>
                  <a:srgbClr val="018ECB"/>
                </a:solidFill>
                <a:effectLst/>
                <a:uLnTx/>
                <a:uFillTx/>
                <a:latin typeface="+mj-lt"/>
                <a:sym typeface="+mj-lt"/>
              </a:defRPr>
            </a:lvl1pPr>
          </a:lstStyle>
          <a:p>
            <a:pPr marL="0" marR="0" lvl="0" indent="0" defTabSz="843276" fontAlgn="base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>
                <a:tab pos="254178" algn="l"/>
              </a:tabLst>
            </a:pPr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white">
          <a:xfrm>
            <a:off x="3791164" y="4390276"/>
            <a:ext cx="4430731" cy="2273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kumimoji="0" lang="en-US" sz="1477" b="0" i="0" u="none" strike="noStrike" kern="0" cap="none" spc="0" normalizeH="0" baseline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alibri"/>
              </a:defRPr>
            </a:lvl1pPr>
          </a:lstStyle>
          <a:p>
            <a:pPr marR="0" lvl="0" defTabSz="84327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</a:pPr>
            <a:r>
              <a:rPr lang="en-US" dirty="0"/>
              <a:t>Click to edit Master subtitle style</a:t>
            </a:r>
          </a:p>
        </p:txBody>
      </p:sp>
      <p:pic>
        <p:nvPicPr>
          <p:cNvPr id="44" name="Picture 433" descr="Image result for who logo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791164" y="1304114"/>
            <a:ext cx="3250907" cy="1090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2" name="Straight Connector 41"/>
          <p:cNvCxnSpPr>
            <a:cxnSpLocks/>
          </p:cNvCxnSpPr>
          <p:nvPr userDrawn="1"/>
        </p:nvCxnSpPr>
        <p:spPr>
          <a:xfrm flipH="1">
            <a:off x="3791164" y="4293990"/>
            <a:ext cx="4430731" cy="0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rgbClr val="7DDAF3">
                    <a:alpha val="0"/>
                  </a:srgbClr>
                </a:gs>
                <a:gs pos="56000">
                  <a:srgbClr val="7DDAF3"/>
                </a:gs>
              </a:gsLst>
              <a:lin ang="0" scaled="1"/>
              <a:tileRect/>
            </a:gra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694620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1" name="think-cell Slide" r:id="rId5" imgW="476" imgH="357" progId="TCLayout.ActiveDocument.1">
                  <p:embed/>
                </p:oleObj>
              </mc:Choice>
              <mc:Fallback>
                <p:oleObj name="think-cell Slide" r:id="rId5" imgW="476" imgH="35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817477" y="2668041"/>
            <a:ext cx="75096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844083" rtl="0" eaLnBrk="1" fontAlgn="auto" latinLnBrk="0" hangingPunct="1">
              <a:lnSpc>
                <a:spcPts val="5539"/>
              </a:lnSpc>
              <a:spcBef>
                <a:spcPts val="0"/>
              </a:spcBef>
              <a:spcAft>
                <a:spcPts val="0"/>
              </a:spcAft>
              <a:defRPr lang="en-US" sz="4062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56" name="Square"/>
          <p:cNvSpPr>
            <a:spLocks noChangeAspect="1"/>
          </p:cNvSpPr>
          <p:nvPr userDrawn="1"/>
        </p:nvSpPr>
        <p:spPr bwMode="white">
          <a:xfrm>
            <a:off x="817477" y="1457803"/>
            <a:ext cx="846605" cy="9180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08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fr-FR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Transformation Implementation - ADG Meeting - 7Mar2019.PPTX</a:t>
            </a:r>
            <a:endParaRPr lang="en-US" sz="646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Page"/>
          <p:cNvSpPr txBox="1"/>
          <p:nvPr userDrawn="1"/>
        </p:nvSpPr>
        <p:spPr>
          <a:xfrm>
            <a:off x="8412869" y="6559526"/>
            <a:ext cx="15070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2350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5" name="think-cell Slide" r:id="rId6" imgW="476" imgH="357" progId="TCLayout.ActiveDocument.1">
                  <p:embed/>
                </p:oleObj>
              </mc:Choice>
              <mc:Fallback>
                <p:oleObj name="think-cell Slide" r:id="rId6" imgW="476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  <a:solidFill>
            <a:srgbClr val="04A4EC"/>
          </a:solidFill>
          <a:ln w="9525" cap="rnd" cmpd="sng" algn="ctr">
            <a:solidFill>
              <a:srgbClr val="04A4E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15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37720" y="622801"/>
            <a:ext cx="7982031" cy="306751"/>
          </a:xfrm>
        </p:spPr>
        <p:txBody>
          <a:bodyPr/>
          <a:lstStyle>
            <a:lvl1pPr>
              <a:defRPr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fr-FR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Transformation Implementation - ADG Meeting - 7Mar2019.PPTX</a:t>
            </a:r>
            <a:endParaRPr lang="en-US" sz="646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6" name="Picture 433" descr="Image result for who logo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089788" y="6441534"/>
            <a:ext cx="831748" cy="279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995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97" y="180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97" y="180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 noChangeArrowheads="1"/>
          </p:cNvPicPr>
          <p:nvPr/>
        </p:nvPicPr>
        <p:blipFill rotWithShape="1">
          <a:blip r:embed="rId6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71" t="15759" r="21330" b="5518"/>
          <a:stretch/>
        </p:blipFill>
        <p:spPr bwMode="auto">
          <a:xfrm>
            <a:off x="0" y="189589"/>
            <a:ext cx="3960124" cy="6668411"/>
          </a:xfrm>
          <a:custGeom>
            <a:avLst/>
            <a:gdLst>
              <a:gd name="connsiteX0" fmla="*/ 0 w 3960124"/>
              <a:gd name="connsiteY0" fmla="*/ 15822 h 6668411"/>
              <a:gd name="connsiteX1" fmla="*/ 1905001 w 3960124"/>
              <a:gd name="connsiteY1" fmla="*/ 15822 h 6668411"/>
              <a:gd name="connsiteX2" fmla="*/ 1905001 w 3960124"/>
              <a:gd name="connsiteY2" fmla="*/ 6668411 h 6668411"/>
              <a:gd name="connsiteX3" fmla="*/ 0 w 3960124"/>
              <a:gd name="connsiteY3" fmla="*/ 6668411 h 6668411"/>
              <a:gd name="connsiteX4" fmla="*/ 2438131 w 3960124"/>
              <a:gd name="connsiteY4" fmla="*/ 0 h 6668411"/>
              <a:gd name="connsiteX5" fmla="*/ 2422951 w 3960124"/>
              <a:gd name="connsiteY5" fmla="*/ 79922 h 6668411"/>
              <a:gd name="connsiteX6" fmla="*/ 3815509 w 3960124"/>
              <a:gd name="connsiteY6" fmla="*/ 6435006 h 6668411"/>
              <a:gd name="connsiteX7" fmla="*/ 3960124 w 3960124"/>
              <a:gd name="connsiteY7" fmla="*/ 6668410 h 6668411"/>
              <a:gd name="connsiteX8" fmla="*/ 1905003 w 3960124"/>
              <a:gd name="connsiteY8" fmla="*/ 6668410 h 6668411"/>
              <a:gd name="connsiteX9" fmla="*/ 1905003 w 3960124"/>
              <a:gd name="connsiteY9" fmla="*/ 13787 h 6668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60124" h="6668411">
                <a:moveTo>
                  <a:pt x="0" y="15822"/>
                </a:moveTo>
                <a:lnTo>
                  <a:pt x="1905001" y="15822"/>
                </a:lnTo>
                <a:lnTo>
                  <a:pt x="1905001" y="6668411"/>
                </a:lnTo>
                <a:lnTo>
                  <a:pt x="0" y="6668411"/>
                </a:lnTo>
                <a:close/>
                <a:moveTo>
                  <a:pt x="2438131" y="0"/>
                </a:moveTo>
                <a:lnTo>
                  <a:pt x="2422951" y="79922"/>
                </a:lnTo>
                <a:cubicBezTo>
                  <a:pt x="2068968" y="2080041"/>
                  <a:pt x="2413004" y="4118302"/>
                  <a:pt x="3815509" y="6435006"/>
                </a:cubicBezTo>
                <a:lnTo>
                  <a:pt x="3960124" y="6668410"/>
                </a:lnTo>
                <a:lnTo>
                  <a:pt x="1905003" y="6668410"/>
                </a:lnTo>
                <a:lnTo>
                  <a:pt x="1905003" y="13787"/>
                </a:lnTo>
                <a:close/>
              </a:path>
            </a:pathLst>
          </a:custGeom>
          <a:solidFill>
            <a:srgbClr val="4F81BD"/>
          </a:solidFill>
          <a:ln>
            <a:noFill/>
          </a:ln>
        </p:spPr>
      </p:pic>
      <p:sp>
        <p:nvSpPr>
          <p:cNvPr id="18" name="Freeform 17"/>
          <p:cNvSpPr/>
          <p:nvPr/>
        </p:nvSpPr>
        <p:spPr>
          <a:xfrm>
            <a:off x="24" y="-2"/>
            <a:ext cx="2475358" cy="205413"/>
          </a:xfrm>
          <a:custGeom>
            <a:avLst/>
            <a:gdLst>
              <a:gd name="connsiteX0" fmla="*/ 1905002 w 2475358"/>
              <a:gd name="connsiteY0" fmla="*/ 1 h 205413"/>
              <a:gd name="connsiteX1" fmla="*/ 2475358 w 2475358"/>
              <a:gd name="connsiteY1" fmla="*/ 1 h 205413"/>
              <a:gd name="connsiteX2" fmla="*/ 2465136 w 2475358"/>
              <a:gd name="connsiteY2" fmla="*/ 47898 h 205413"/>
              <a:gd name="connsiteX3" fmla="*/ 2438131 w 2475358"/>
              <a:gd name="connsiteY3" fmla="*/ 191488 h 205413"/>
              <a:gd name="connsiteX4" fmla="*/ 1905002 w 2475358"/>
              <a:gd name="connsiteY4" fmla="*/ 205413 h 205413"/>
              <a:gd name="connsiteX5" fmla="*/ 0 w 2475358"/>
              <a:gd name="connsiteY5" fmla="*/ 0 h 205413"/>
              <a:gd name="connsiteX6" fmla="*/ 1905001 w 2475358"/>
              <a:gd name="connsiteY6" fmla="*/ 0 h 205413"/>
              <a:gd name="connsiteX7" fmla="*/ 1905001 w 2475358"/>
              <a:gd name="connsiteY7" fmla="*/ 205413 h 205413"/>
              <a:gd name="connsiteX8" fmla="*/ 0 w 2475358"/>
              <a:gd name="connsiteY8" fmla="*/ 205413 h 205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75358" h="205413">
                <a:moveTo>
                  <a:pt x="1905002" y="1"/>
                </a:moveTo>
                <a:lnTo>
                  <a:pt x="2475358" y="1"/>
                </a:lnTo>
                <a:lnTo>
                  <a:pt x="2465136" y="47898"/>
                </a:lnTo>
                <a:lnTo>
                  <a:pt x="2438131" y="191488"/>
                </a:lnTo>
                <a:lnTo>
                  <a:pt x="1905002" y="205413"/>
                </a:lnTo>
                <a:close/>
                <a:moveTo>
                  <a:pt x="0" y="0"/>
                </a:moveTo>
                <a:lnTo>
                  <a:pt x="1905001" y="0"/>
                </a:lnTo>
                <a:lnTo>
                  <a:pt x="1905001" y="205413"/>
                </a:lnTo>
                <a:lnTo>
                  <a:pt x="0" y="20541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93" tIns="44901" rIns="89793" bIns="44901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Freeform 18"/>
          <p:cNvSpPr/>
          <p:nvPr/>
        </p:nvSpPr>
        <p:spPr>
          <a:xfrm rot="16200000" flipH="1" flipV="1">
            <a:off x="-129793" y="2575672"/>
            <a:ext cx="6674807" cy="1889853"/>
          </a:xfrm>
          <a:custGeom>
            <a:avLst/>
            <a:gdLst>
              <a:gd name="connsiteX0" fmla="*/ 1904026 w 8899742"/>
              <a:gd name="connsiteY0" fmla="*/ 2518940 h 2519803"/>
              <a:gd name="connsiteX1" fmla="*/ 115093 w 8899742"/>
              <a:gd name="connsiteY1" fmla="*/ 2347443 h 2519803"/>
              <a:gd name="connsiteX2" fmla="*/ 8530 w 8899742"/>
              <a:gd name="connsiteY2" fmla="*/ 2327202 h 2519803"/>
              <a:gd name="connsiteX3" fmla="*/ 0 w 8899742"/>
              <a:gd name="connsiteY3" fmla="*/ 1997387 h 2519803"/>
              <a:gd name="connsiteX4" fmla="*/ 8870941 w 8899742"/>
              <a:gd name="connsiteY4" fmla="*/ 19461 h 2519803"/>
              <a:gd name="connsiteX5" fmla="*/ 8899742 w 8899742"/>
              <a:gd name="connsiteY5" fmla="*/ 0 h 2519803"/>
              <a:gd name="connsiteX6" fmla="*/ 8899742 w 8899742"/>
              <a:gd name="connsiteY6" fmla="*/ 297879 h 2519803"/>
              <a:gd name="connsiteX7" fmla="*/ 8588537 w 8899742"/>
              <a:gd name="connsiteY7" fmla="*/ 490699 h 2519803"/>
              <a:gd name="connsiteX8" fmla="*/ 1904026 w 8899742"/>
              <a:gd name="connsiteY8" fmla="*/ 2518940 h 2519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99742" h="2519803">
                <a:moveTo>
                  <a:pt x="1904026" y="2518940"/>
                </a:moveTo>
                <a:cubicBezTo>
                  <a:pt x="1302860" y="2511250"/>
                  <a:pt x="707721" y="2452327"/>
                  <a:pt x="115093" y="2347443"/>
                </a:cubicBezTo>
                <a:lnTo>
                  <a:pt x="8530" y="2327202"/>
                </a:lnTo>
                <a:lnTo>
                  <a:pt x="0" y="1997387"/>
                </a:lnTo>
                <a:cubicBezTo>
                  <a:pt x="2777524" y="2631185"/>
                  <a:pt x="5587553" y="2192303"/>
                  <a:pt x="8870941" y="19461"/>
                </a:cubicBezTo>
                <a:lnTo>
                  <a:pt x="8899742" y="0"/>
                </a:lnTo>
                <a:lnTo>
                  <a:pt x="8899742" y="297879"/>
                </a:lnTo>
                <a:lnTo>
                  <a:pt x="8588537" y="490699"/>
                </a:lnTo>
                <a:cubicBezTo>
                  <a:pt x="6186029" y="1945148"/>
                  <a:pt x="4008109" y="2545853"/>
                  <a:pt x="1904026" y="2518940"/>
                </a:cubicBezTo>
                <a:close/>
              </a:path>
            </a:pathLst>
          </a:custGeom>
          <a:solidFill>
            <a:schemeClr val="accent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93" tIns="44901" rIns="89793" bIns="44901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Freeform 19"/>
          <p:cNvSpPr/>
          <p:nvPr/>
        </p:nvSpPr>
        <p:spPr>
          <a:xfrm rot="16200000" flipH="1" flipV="1">
            <a:off x="-1354134" y="1543752"/>
            <a:ext cx="6668411" cy="3960124"/>
          </a:xfrm>
          <a:custGeom>
            <a:avLst/>
            <a:gdLst>
              <a:gd name="connsiteX0" fmla="*/ 15822 w 6668411"/>
              <a:gd name="connsiteY0" fmla="*/ 3960124 h 3960124"/>
              <a:gd name="connsiteX1" fmla="*/ 15822 w 6668411"/>
              <a:gd name="connsiteY1" fmla="*/ 2055123 h 3960124"/>
              <a:gd name="connsiteX2" fmla="*/ 6668411 w 6668411"/>
              <a:gd name="connsiteY2" fmla="*/ 2055123 h 3960124"/>
              <a:gd name="connsiteX3" fmla="*/ 6668411 w 6668411"/>
              <a:gd name="connsiteY3" fmla="*/ 3960124 h 3960124"/>
              <a:gd name="connsiteX4" fmla="*/ 0 w 6668411"/>
              <a:gd name="connsiteY4" fmla="*/ 1521993 h 3960124"/>
              <a:gd name="connsiteX5" fmla="*/ 79922 w 6668411"/>
              <a:gd name="connsiteY5" fmla="*/ 1537173 h 3960124"/>
              <a:gd name="connsiteX6" fmla="*/ 6435006 w 6668411"/>
              <a:gd name="connsiteY6" fmla="*/ 144615 h 3960124"/>
              <a:gd name="connsiteX7" fmla="*/ 6668410 w 6668411"/>
              <a:gd name="connsiteY7" fmla="*/ 0 h 3960124"/>
              <a:gd name="connsiteX8" fmla="*/ 6668410 w 6668411"/>
              <a:gd name="connsiteY8" fmla="*/ 2055121 h 3960124"/>
              <a:gd name="connsiteX9" fmla="*/ 13787 w 6668411"/>
              <a:gd name="connsiteY9" fmla="*/ 2055121 h 396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68411" h="3960124">
                <a:moveTo>
                  <a:pt x="15822" y="3960124"/>
                </a:moveTo>
                <a:lnTo>
                  <a:pt x="15822" y="2055123"/>
                </a:lnTo>
                <a:lnTo>
                  <a:pt x="6668411" y="2055123"/>
                </a:lnTo>
                <a:lnTo>
                  <a:pt x="6668411" y="3960124"/>
                </a:lnTo>
                <a:close/>
                <a:moveTo>
                  <a:pt x="0" y="1521993"/>
                </a:moveTo>
                <a:lnTo>
                  <a:pt x="79922" y="1537173"/>
                </a:lnTo>
                <a:cubicBezTo>
                  <a:pt x="2080041" y="1891156"/>
                  <a:pt x="4118302" y="1547120"/>
                  <a:pt x="6435006" y="144615"/>
                </a:cubicBezTo>
                <a:lnTo>
                  <a:pt x="6668410" y="0"/>
                </a:lnTo>
                <a:lnTo>
                  <a:pt x="6668410" y="2055121"/>
                </a:lnTo>
                <a:lnTo>
                  <a:pt x="13787" y="2055121"/>
                </a:lnTo>
                <a:close/>
              </a:path>
            </a:pathLst>
          </a:custGeom>
          <a:solidFill>
            <a:schemeClr val="accent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793" tIns="44901" rIns="89793" bIns="44901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766681" y="2912934"/>
            <a:ext cx="3776460" cy="984884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766681" y="4102704"/>
            <a:ext cx="3776460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766681" y="4955493"/>
            <a:ext cx="3776460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dirty="0">
                <a:solidFill>
                  <a:srgbClr val="808080"/>
                </a:solidFill>
                <a:latin typeface="Calibri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8615949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GB" sz="800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11" name="Picture 4" descr="Image result for world health organisation logo png"/>
          <p:cNvPicPr>
            <a:picLocks noChangeAspect="1" noChangeArrowheads="1"/>
          </p:cNvPicPr>
          <p:nvPr/>
        </p:nvPicPr>
        <p:blipFill rotWithShape="1"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766689" y="1224975"/>
            <a:ext cx="2750655" cy="94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Connector 20"/>
          <p:cNvCxnSpPr>
            <a:cxnSpLocks/>
          </p:cNvCxnSpPr>
          <p:nvPr/>
        </p:nvCxnSpPr>
        <p:spPr>
          <a:xfrm flipH="1">
            <a:off x="3771241" y="4006419"/>
            <a:ext cx="3771900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6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19244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68" y="176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7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8" y="176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1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7016"/>
            <a:endParaRPr lang="en-GB" sz="800" dirty="0">
              <a:solidFill>
                <a:srgbClr val="80808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832581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68" y="176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8" y="176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1232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5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5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8B8BF22-9561-414C-9315-643AAD11F5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pic>
        <p:nvPicPr>
          <p:cNvPr id="17" name="Picture 16"/>
          <p:cNvPicPr>
            <a:picLocks noChangeAspect="1" noChangeArrowheads="1"/>
          </p:cNvPicPr>
          <p:nvPr/>
        </p:nvPicPr>
        <p:blipFill rotWithShape="1">
          <a:blip r:embed="rId7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71" t="15759" r="21330" b="5518"/>
          <a:stretch/>
        </p:blipFill>
        <p:spPr bwMode="auto">
          <a:xfrm>
            <a:off x="0" y="189589"/>
            <a:ext cx="3960124" cy="6668411"/>
          </a:xfrm>
          <a:custGeom>
            <a:avLst/>
            <a:gdLst>
              <a:gd name="connsiteX0" fmla="*/ 0 w 3960124"/>
              <a:gd name="connsiteY0" fmla="*/ 15822 h 6668411"/>
              <a:gd name="connsiteX1" fmla="*/ 1905001 w 3960124"/>
              <a:gd name="connsiteY1" fmla="*/ 15822 h 6668411"/>
              <a:gd name="connsiteX2" fmla="*/ 1905001 w 3960124"/>
              <a:gd name="connsiteY2" fmla="*/ 6668411 h 6668411"/>
              <a:gd name="connsiteX3" fmla="*/ 0 w 3960124"/>
              <a:gd name="connsiteY3" fmla="*/ 6668411 h 6668411"/>
              <a:gd name="connsiteX4" fmla="*/ 2438131 w 3960124"/>
              <a:gd name="connsiteY4" fmla="*/ 0 h 6668411"/>
              <a:gd name="connsiteX5" fmla="*/ 2422951 w 3960124"/>
              <a:gd name="connsiteY5" fmla="*/ 79922 h 6668411"/>
              <a:gd name="connsiteX6" fmla="*/ 3815509 w 3960124"/>
              <a:gd name="connsiteY6" fmla="*/ 6435006 h 6668411"/>
              <a:gd name="connsiteX7" fmla="*/ 3960124 w 3960124"/>
              <a:gd name="connsiteY7" fmla="*/ 6668410 h 6668411"/>
              <a:gd name="connsiteX8" fmla="*/ 1905003 w 3960124"/>
              <a:gd name="connsiteY8" fmla="*/ 6668410 h 6668411"/>
              <a:gd name="connsiteX9" fmla="*/ 1905003 w 3960124"/>
              <a:gd name="connsiteY9" fmla="*/ 13787 h 6668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60124" h="6668411">
                <a:moveTo>
                  <a:pt x="0" y="15822"/>
                </a:moveTo>
                <a:lnTo>
                  <a:pt x="1905001" y="15822"/>
                </a:lnTo>
                <a:lnTo>
                  <a:pt x="1905001" y="6668411"/>
                </a:lnTo>
                <a:lnTo>
                  <a:pt x="0" y="6668411"/>
                </a:lnTo>
                <a:close/>
                <a:moveTo>
                  <a:pt x="2438131" y="0"/>
                </a:moveTo>
                <a:lnTo>
                  <a:pt x="2422951" y="79922"/>
                </a:lnTo>
                <a:cubicBezTo>
                  <a:pt x="2068968" y="2080041"/>
                  <a:pt x="2413004" y="4118302"/>
                  <a:pt x="3815509" y="6435006"/>
                </a:cubicBezTo>
                <a:lnTo>
                  <a:pt x="3960124" y="6668410"/>
                </a:lnTo>
                <a:lnTo>
                  <a:pt x="1905003" y="6668410"/>
                </a:lnTo>
                <a:lnTo>
                  <a:pt x="1905003" y="13787"/>
                </a:lnTo>
                <a:close/>
              </a:path>
            </a:pathLst>
          </a:custGeom>
          <a:solidFill>
            <a:srgbClr val="4F81BD"/>
          </a:solidFill>
          <a:ln>
            <a:noFill/>
          </a:ln>
        </p:spPr>
      </p:pic>
      <p:sp>
        <p:nvSpPr>
          <p:cNvPr id="18" name="Freeform 17"/>
          <p:cNvSpPr/>
          <p:nvPr/>
        </p:nvSpPr>
        <p:spPr>
          <a:xfrm>
            <a:off x="-2" y="-2"/>
            <a:ext cx="2475358" cy="205413"/>
          </a:xfrm>
          <a:custGeom>
            <a:avLst/>
            <a:gdLst>
              <a:gd name="connsiteX0" fmla="*/ 1905002 w 2475358"/>
              <a:gd name="connsiteY0" fmla="*/ 1 h 205413"/>
              <a:gd name="connsiteX1" fmla="*/ 2475358 w 2475358"/>
              <a:gd name="connsiteY1" fmla="*/ 1 h 205413"/>
              <a:gd name="connsiteX2" fmla="*/ 2465136 w 2475358"/>
              <a:gd name="connsiteY2" fmla="*/ 47898 h 205413"/>
              <a:gd name="connsiteX3" fmla="*/ 2438131 w 2475358"/>
              <a:gd name="connsiteY3" fmla="*/ 191488 h 205413"/>
              <a:gd name="connsiteX4" fmla="*/ 1905002 w 2475358"/>
              <a:gd name="connsiteY4" fmla="*/ 205413 h 205413"/>
              <a:gd name="connsiteX5" fmla="*/ 0 w 2475358"/>
              <a:gd name="connsiteY5" fmla="*/ 0 h 205413"/>
              <a:gd name="connsiteX6" fmla="*/ 1905001 w 2475358"/>
              <a:gd name="connsiteY6" fmla="*/ 0 h 205413"/>
              <a:gd name="connsiteX7" fmla="*/ 1905001 w 2475358"/>
              <a:gd name="connsiteY7" fmla="*/ 205413 h 205413"/>
              <a:gd name="connsiteX8" fmla="*/ 0 w 2475358"/>
              <a:gd name="connsiteY8" fmla="*/ 205413 h 205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75358" h="205413">
                <a:moveTo>
                  <a:pt x="1905002" y="1"/>
                </a:moveTo>
                <a:lnTo>
                  <a:pt x="2475358" y="1"/>
                </a:lnTo>
                <a:lnTo>
                  <a:pt x="2465136" y="47898"/>
                </a:lnTo>
                <a:lnTo>
                  <a:pt x="2438131" y="191488"/>
                </a:lnTo>
                <a:lnTo>
                  <a:pt x="1905002" y="205413"/>
                </a:lnTo>
                <a:close/>
                <a:moveTo>
                  <a:pt x="0" y="0"/>
                </a:moveTo>
                <a:lnTo>
                  <a:pt x="1905001" y="0"/>
                </a:lnTo>
                <a:lnTo>
                  <a:pt x="1905001" y="205413"/>
                </a:lnTo>
                <a:lnTo>
                  <a:pt x="0" y="20541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dirty="0">
              <a:solidFill>
                <a:srgbClr val="FFFFFF"/>
              </a:solidFill>
            </a:endParaRPr>
          </a:p>
        </p:txBody>
      </p:sp>
      <p:sp>
        <p:nvSpPr>
          <p:cNvPr id="19" name="Freeform 18"/>
          <p:cNvSpPr/>
          <p:nvPr/>
        </p:nvSpPr>
        <p:spPr>
          <a:xfrm rot="16200000" flipH="1" flipV="1">
            <a:off x="-129972" y="2575672"/>
            <a:ext cx="6674807" cy="1889853"/>
          </a:xfrm>
          <a:custGeom>
            <a:avLst/>
            <a:gdLst>
              <a:gd name="connsiteX0" fmla="*/ 1904026 w 8899742"/>
              <a:gd name="connsiteY0" fmla="*/ 2518940 h 2519803"/>
              <a:gd name="connsiteX1" fmla="*/ 115093 w 8899742"/>
              <a:gd name="connsiteY1" fmla="*/ 2347443 h 2519803"/>
              <a:gd name="connsiteX2" fmla="*/ 8530 w 8899742"/>
              <a:gd name="connsiteY2" fmla="*/ 2327202 h 2519803"/>
              <a:gd name="connsiteX3" fmla="*/ 0 w 8899742"/>
              <a:gd name="connsiteY3" fmla="*/ 1997387 h 2519803"/>
              <a:gd name="connsiteX4" fmla="*/ 8870941 w 8899742"/>
              <a:gd name="connsiteY4" fmla="*/ 19461 h 2519803"/>
              <a:gd name="connsiteX5" fmla="*/ 8899742 w 8899742"/>
              <a:gd name="connsiteY5" fmla="*/ 0 h 2519803"/>
              <a:gd name="connsiteX6" fmla="*/ 8899742 w 8899742"/>
              <a:gd name="connsiteY6" fmla="*/ 297879 h 2519803"/>
              <a:gd name="connsiteX7" fmla="*/ 8588537 w 8899742"/>
              <a:gd name="connsiteY7" fmla="*/ 490699 h 2519803"/>
              <a:gd name="connsiteX8" fmla="*/ 1904026 w 8899742"/>
              <a:gd name="connsiteY8" fmla="*/ 2518940 h 2519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99742" h="2519803">
                <a:moveTo>
                  <a:pt x="1904026" y="2518940"/>
                </a:moveTo>
                <a:cubicBezTo>
                  <a:pt x="1302860" y="2511250"/>
                  <a:pt x="707721" y="2452327"/>
                  <a:pt x="115093" y="2347443"/>
                </a:cubicBezTo>
                <a:lnTo>
                  <a:pt x="8530" y="2327202"/>
                </a:lnTo>
                <a:lnTo>
                  <a:pt x="0" y="1997387"/>
                </a:lnTo>
                <a:cubicBezTo>
                  <a:pt x="2777524" y="2631185"/>
                  <a:pt x="5587553" y="2192303"/>
                  <a:pt x="8870941" y="19461"/>
                </a:cubicBezTo>
                <a:lnTo>
                  <a:pt x="8899742" y="0"/>
                </a:lnTo>
                <a:lnTo>
                  <a:pt x="8899742" y="297879"/>
                </a:lnTo>
                <a:lnTo>
                  <a:pt x="8588537" y="490699"/>
                </a:lnTo>
                <a:cubicBezTo>
                  <a:pt x="6186029" y="1945148"/>
                  <a:pt x="4008109" y="2545853"/>
                  <a:pt x="1904026" y="2518940"/>
                </a:cubicBezTo>
                <a:close/>
              </a:path>
            </a:pathLst>
          </a:custGeom>
          <a:solidFill>
            <a:schemeClr val="accent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dirty="0">
              <a:solidFill>
                <a:srgbClr val="FFFFFF"/>
              </a:solidFill>
            </a:endParaRPr>
          </a:p>
        </p:txBody>
      </p:sp>
      <p:sp>
        <p:nvSpPr>
          <p:cNvPr id="20" name="Freeform 19"/>
          <p:cNvSpPr/>
          <p:nvPr/>
        </p:nvSpPr>
        <p:spPr>
          <a:xfrm rot="16200000" flipH="1" flipV="1">
            <a:off x="-1354140" y="1543733"/>
            <a:ext cx="6668411" cy="3960124"/>
          </a:xfrm>
          <a:custGeom>
            <a:avLst/>
            <a:gdLst>
              <a:gd name="connsiteX0" fmla="*/ 15822 w 6668411"/>
              <a:gd name="connsiteY0" fmla="*/ 3960124 h 3960124"/>
              <a:gd name="connsiteX1" fmla="*/ 15822 w 6668411"/>
              <a:gd name="connsiteY1" fmla="*/ 2055123 h 3960124"/>
              <a:gd name="connsiteX2" fmla="*/ 6668411 w 6668411"/>
              <a:gd name="connsiteY2" fmla="*/ 2055123 h 3960124"/>
              <a:gd name="connsiteX3" fmla="*/ 6668411 w 6668411"/>
              <a:gd name="connsiteY3" fmla="*/ 3960124 h 3960124"/>
              <a:gd name="connsiteX4" fmla="*/ 0 w 6668411"/>
              <a:gd name="connsiteY4" fmla="*/ 1521993 h 3960124"/>
              <a:gd name="connsiteX5" fmla="*/ 79922 w 6668411"/>
              <a:gd name="connsiteY5" fmla="*/ 1537173 h 3960124"/>
              <a:gd name="connsiteX6" fmla="*/ 6435006 w 6668411"/>
              <a:gd name="connsiteY6" fmla="*/ 144615 h 3960124"/>
              <a:gd name="connsiteX7" fmla="*/ 6668410 w 6668411"/>
              <a:gd name="connsiteY7" fmla="*/ 0 h 3960124"/>
              <a:gd name="connsiteX8" fmla="*/ 6668410 w 6668411"/>
              <a:gd name="connsiteY8" fmla="*/ 2055121 h 3960124"/>
              <a:gd name="connsiteX9" fmla="*/ 13787 w 6668411"/>
              <a:gd name="connsiteY9" fmla="*/ 2055121 h 396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68411" h="3960124">
                <a:moveTo>
                  <a:pt x="15822" y="3960124"/>
                </a:moveTo>
                <a:lnTo>
                  <a:pt x="15822" y="2055123"/>
                </a:lnTo>
                <a:lnTo>
                  <a:pt x="6668411" y="2055123"/>
                </a:lnTo>
                <a:lnTo>
                  <a:pt x="6668411" y="3960124"/>
                </a:lnTo>
                <a:close/>
                <a:moveTo>
                  <a:pt x="0" y="1521993"/>
                </a:moveTo>
                <a:lnTo>
                  <a:pt x="79922" y="1537173"/>
                </a:lnTo>
                <a:cubicBezTo>
                  <a:pt x="2080041" y="1891156"/>
                  <a:pt x="4118302" y="1547120"/>
                  <a:pt x="6435006" y="144615"/>
                </a:cubicBezTo>
                <a:lnTo>
                  <a:pt x="6668410" y="0"/>
                </a:lnTo>
                <a:lnTo>
                  <a:pt x="6668410" y="2055121"/>
                </a:lnTo>
                <a:lnTo>
                  <a:pt x="13787" y="2055121"/>
                </a:lnTo>
                <a:close/>
              </a:path>
            </a:pathLst>
          </a:custGeom>
          <a:solidFill>
            <a:schemeClr val="accent2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dirty="0">
              <a:solidFill>
                <a:srgbClr val="FFFFFF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766681" y="2912941"/>
            <a:ext cx="3776460" cy="98488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766681" y="4102704"/>
            <a:ext cx="3776460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766681" y="4959869"/>
            <a:ext cx="377646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808080"/>
                </a:solidFill>
                <a:latin typeface="Calibri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white">
          <a:xfrm>
            <a:off x="8615933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11" name="Picture 4" descr="Image result for world health organisation logo png"/>
          <p:cNvPicPr>
            <a:picLocks noChangeAspect="1" noChangeArrowheads="1"/>
          </p:cNvPicPr>
          <p:nvPr/>
        </p:nvPicPr>
        <p:blipFill rotWithShape="1"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766685" y="1224975"/>
            <a:ext cx="2750655" cy="947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Straight Connector 20"/>
          <p:cNvCxnSpPr>
            <a:cxnSpLocks/>
          </p:cNvCxnSpPr>
          <p:nvPr/>
        </p:nvCxnSpPr>
        <p:spPr>
          <a:xfrm flipH="1">
            <a:off x="3771241" y="4006419"/>
            <a:ext cx="3771900" cy="0"/>
          </a:xfrm>
          <a:prstGeom prst="line">
            <a:avLst/>
          </a:prstGeom>
          <a:ln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56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52439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2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3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CBAACD20-C548-4FC5-8FD8-38351FEB3E4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 err="1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dirty="0">
              <a:solidFill>
                <a:srgbClr val="80808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459954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6858000"/>
          </a:xfrm>
          <a:solidFill>
            <a:schemeClr val="bg1"/>
          </a:solidFill>
        </p:spPr>
        <p:txBody>
          <a:bodyPr bIns="122400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 baseline="0">
                <a:solidFill>
                  <a:schemeClr val="accent6"/>
                </a:solidFill>
              </a:defRPr>
            </a:lvl1pPr>
          </a:lstStyle>
          <a:p>
            <a:r>
              <a:rPr lang="en-GB" noProof="0" dirty="0"/>
              <a:t>Click on Icon to add picture, then arrange object (send to back)</a:t>
            </a:r>
            <a:br>
              <a:rPr lang="en-GB" noProof="0" dirty="0"/>
            </a:br>
            <a:r>
              <a:rPr lang="en-GB" noProof="0" dirty="0"/>
              <a:t>Change picture either by 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  <a:p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85184"/>
            <a:ext cx="5508000" cy="1119158"/>
          </a:xfrm>
          <a:noFill/>
        </p:spPr>
        <p:txBody>
          <a:bodyPr lIns="360000" tIns="72000" rIns="450000" bIns="180000" anchor="t" anchorCtr="0">
            <a:noAutofit/>
          </a:bodyPr>
          <a:lstStyle>
            <a:lvl1pPr algn="l">
              <a:lnSpc>
                <a:spcPct val="85000"/>
              </a:lnSpc>
              <a:defRPr sz="4200">
                <a:solidFill>
                  <a:srgbClr val="0092CC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6507006"/>
            <a:ext cx="4478700" cy="247650"/>
          </a:xfrm>
        </p:spPr>
        <p:txBody>
          <a:bodyPr lIns="0" anchor="ctr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Name of Author  |  Function | Division | Country </a:t>
            </a:r>
          </a:p>
        </p:txBody>
      </p:sp>
      <p:sp>
        <p:nvSpPr>
          <p:cNvPr id="90" name="Text Placehold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7121935" y="6476048"/>
            <a:ext cx="1646444" cy="247650"/>
          </a:xfrm>
        </p:spPr>
        <p:txBody>
          <a:bodyPr rIns="0" anchor="ctr">
            <a:noAutofit/>
          </a:bodyPr>
          <a:lstStyle>
            <a:lvl1pPr algn="ctr">
              <a:defRPr sz="1600" b="1" spc="0" baseline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www.who.in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" y="4482001"/>
            <a:ext cx="9143999" cy="1656000"/>
          </a:xfrm>
          <a:solidFill>
            <a:schemeClr val="tx2"/>
          </a:solidFill>
        </p:spPr>
        <p:txBody>
          <a:bodyPr lIns="360000" tIns="360000" rIns="360000" bIns="828000" anchor="b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Click to edit Master subtitle style</a:t>
            </a:r>
          </a:p>
        </p:txBody>
      </p:sp>
      <p:sp>
        <p:nvSpPr>
          <p:cNvPr id="62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5440855"/>
            <a:ext cx="8408379" cy="288000"/>
          </a:xfrm>
          <a:noFill/>
        </p:spPr>
        <p:txBody>
          <a:bodyPr lIns="0" rIns="90000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22" hasCustomPrompt="1"/>
          </p:nvPr>
        </p:nvSpPr>
        <p:spPr>
          <a:xfrm>
            <a:off x="5595508" y="485184"/>
            <a:ext cx="3172871" cy="11124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21924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2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68DFFB7D-A765-4556-AA92-E436FEF054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 err="1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750943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592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1" name="think-cell Slide" r:id="rId5" imgW="476" imgH="357" progId="TCLayout.ActiveDocument.1">
                  <p:embed/>
                </p:oleObj>
              </mc:Choice>
              <mc:Fallback>
                <p:oleObj name="think-cell Slide" r:id="rId5" imgW="476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2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19067D5F-7164-4A78-B9DF-405DB9E94B0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700" b="1" dirty="0" err="1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0466" y="5381918"/>
            <a:ext cx="2963471" cy="1209382"/>
          </a:xfrm>
          <a:prstGeom prst="rect">
            <a:avLst/>
          </a:prstGeom>
        </p:spPr>
      </p:pic>
      <p:cxnSp>
        <p:nvCxnSpPr>
          <p:cNvPr id="29" name="Straight Connector 28"/>
          <p:cNvCxnSpPr/>
          <p:nvPr/>
        </p:nvCxnSpPr>
        <p:spPr>
          <a:xfrm>
            <a:off x="5155530" y="5383359"/>
            <a:ext cx="0" cy="120650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itle 1"/>
          <p:cNvSpPr>
            <a:spLocks noGrp="1"/>
          </p:cNvSpPr>
          <p:nvPr>
            <p:ph type="ctrTitle" hasCustomPrompt="1"/>
          </p:nvPr>
        </p:nvSpPr>
        <p:spPr>
          <a:xfrm>
            <a:off x="838557" y="533602"/>
            <a:ext cx="7466894" cy="415498"/>
          </a:xfrm>
          <a:prstGeom prst="rect">
            <a:avLst/>
          </a:prstGeom>
        </p:spPr>
        <p:txBody>
          <a:bodyPr/>
          <a:lstStyle>
            <a:lvl1pPr marL="0" algn="ctr" defTabSz="685800" rtl="0" eaLnBrk="1" latinLnBrk="0" hangingPunct="1">
              <a:defRPr lang="en-GB" sz="2700" b="1" kern="1200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0067" y="4434114"/>
            <a:ext cx="8163866" cy="508000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150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</a:t>
            </a:r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10" hasCustomPrompt="1"/>
          </p:nvPr>
        </p:nvSpPr>
        <p:spPr>
          <a:xfrm>
            <a:off x="490067" y="1757593"/>
            <a:ext cx="8163866" cy="432197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208784" y="5529409"/>
            <a:ext cx="6858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300" dirty="0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gile@</a:t>
            </a:r>
            <a:r>
              <a:rPr lang="en-US" sz="3300" b="1" dirty="0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HO</a:t>
            </a:r>
          </a:p>
        </p:txBody>
      </p:sp>
    </p:spTree>
    <p:extLst>
      <p:ext uri="{BB962C8B-B14F-4D97-AF65-F5344CB8AC3E}">
        <p14:creationId xmlns:p14="http://schemas.microsoft.com/office/powerpoint/2010/main" val="2491288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97" y="180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97" y="180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766681" y="4955493"/>
            <a:ext cx="3776460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367574958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68" y="176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63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8" y="176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1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7016"/>
            <a:endParaRPr lang="en-GB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053020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68" y="176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8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8" y="176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989482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6858000"/>
          </a:xfrm>
          <a:solidFill>
            <a:schemeClr val="bg1"/>
          </a:solidFill>
        </p:spPr>
        <p:txBody>
          <a:bodyPr bIns="122400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 baseline="0">
                <a:solidFill>
                  <a:schemeClr val="accent6"/>
                </a:solidFill>
              </a:defRPr>
            </a:lvl1pPr>
          </a:lstStyle>
          <a:p>
            <a:r>
              <a:rPr lang="en-GB" noProof="0" dirty="0"/>
              <a:t>Click on Icon to add picture, then arrange object (send to back)</a:t>
            </a:r>
            <a:br>
              <a:rPr lang="en-GB" noProof="0" dirty="0"/>
            </a:br>
            <a:r>
              <a:rPr lang="en-GB" noProof="0" dirty="0"/>
              <a:t>Change picture either by 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  <a:p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485184"/>
            <a:ext cx="5508000" cy="1119158"/>
          </a:xfrm>
          <a:noFill/>
        </p:spPr>
        <p:txBody>
          <a:bodyPr lIns="360000" tIns="72000" rIns="450000" bIns="180000" anchor="t" anchorCtr="0">
            <a:noAutofit/>
          </a:bodyPr>
          <a:lstStyle>
            <a:lvl1pPr algn="l">
              <a:lnSpc>
                <a:spcPct val="85000"/>
              </a:lnSpc>
              <a:defRPr sz="4200">
                <a:solidFill>
                  <a:srgbClr val="0092CC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>
          <a:xfrm>
            <a:off x="360000" y="6507006"/>
            <a:ext cx="4478700" cy="247650"/>
          </a:xfrm>
        </p:spPr>
        <p:txBody>
          <a:bodyPr lIns="0" anchor="ctr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Name of Author  |  Function | Division | Country </a:t>
            </a:r>
          </a:p>
        </p:txBody>
      </p:sp>
      <p:sp>
        <p:nvSpPr>
          <p:cNvPr id="90" name="Text Placeholder 35"/>
          <p:cNvSpPr>
            <a:spLocks noGrp="1"/>
          </p:cNvSpPr>
          <p:nvPr>
            <p:ph type="body" sz="quarter" idx="16" hasCustomPrompt="1"/>
          </p:nvPr>
        </p:nvSpPr>
        <p:spPr>
          <a:xfrm>
            <a:off x="7121935" y="6476048"/>
            <a:ext cx="1646444" cy="247650"/>
          </a:xfrm>
        </p:spPr>
        <p:txBody>
          <a:bodyPr rIns="0" anchor="ctr">
            <a:noAutofit/>
          </a:bodyPr>
          <a:lstStyle>
            <a:lvl1pPr algn="ctr">
              <a:defRPr sz="1600" b="1" spc="0" baseline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www.who.in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" y="4482001"/>
            <a:ext cx="9143999" cy="1656000"/>
          </a:xfrm>
          <a:solidFill>
            <a:schemeClr val="tx2"/>
          </a:solidFill>
        </p:spPr>
        <p:txBody>
          <a:bodyPr lIns="360000" tIns="360000" rIns="360000" bIns="828000" anchor="b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Click to edit Master subtitle style</a:t>
            </a:r>
          </a:p>
        </p:txBody>
      </p:sp>
      <p:sp>
        <p:nvSpPr>
          <p:cNvPr id="62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5440855"/>
            <a:ext cx="8408379" cy="288000"/>
          </a:xfrm>
          <a:noFill/>
        </p:spPr>
        <p:txBody>
          <a:bodyPr lIns="0" rIns="90000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22" hasCustomPrompt="1"/>
          </p:nvPr>
        </p:nvSpPr>
        <p:spPr>
          <a:xfrm>
            <a:off x="5595508" y="485184"/>
            <a:ext cx="3172871" cy="11124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200235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9999" y="1800000"/>
            <a:ext cx="4104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5773" y="1800000"/>
            <a:ext cx="4104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F5FFF000-091D-47C5-9387-17D52AD2CE62}" type="datetime1">
              <a:rPr lang="en-GB" noProof="0" smtClean="0"/>
              <a:t>11/03/2023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9987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6C78BF3F-558A-4B3C-B451-D04BA3C54A4A}" type="datetime1">
              <a:rPr lang="en-GB" noProof="0" smtClean="0"/>
              <a:t>11/03/2023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>
          <a:xfrm>
            <a:off x="359999" y="2160000"/>
            <a:ext cx="4104000" cy="387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>
          <a:xfrm>
            <a:off x="4675773" y="2160000"/>
            <a:ext cx="4104000" cy="387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359999" y="1800000"/>
            <a:ext cx="4104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4675774" y="1800000"/>
            <a:ext cx="4104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770196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600EC954-D5DE-4DD1-907A-F19F26ED4621}" type="datetime1">
              <a:rPr lang="en-GB" noProof="0" smtClean="0"/>
              <a:t>11/03/2023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>
          <a:xfrm>
            <a:off x="359999" y="2160000"/>
            <a:ext cx="4104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>
          <a:xfrm>
            <a:off x="4675773" y="2160000"/>
            <a:ext cx="4104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359999" y="1800000"/>
            <a:ext cx="4104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4675774" y="1800000"/>
            <a:ext cx="4104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sz="half" idx="30"/>
          </p:nvPr>
        </p:nvSpPr>
        <p:spPr>
          <a:xfrm>
            <a:off x="359999" y="4381200"/>
            <a:ext cx="4104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half" idx="34"/>
          </p:nvPr>
        </p:nvSpPr>
        <p:spPr>
          <a:xfrm>
            <a:off x="4675773" y="4381200"/>
            <a:ext cx="4104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5"/>
          </p:nvPr>
        </p:nvSpPr>
        <p:spPr>
          <a:xfrm>
            <a:off x="359999" y="4039524"/>
            <a:ext cx="4104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675774" y="4039524"/>
            <a:ext cx="4104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700639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539959C5-8A63-4BDF-9345-C80A98690B8E}" type="datetime1">
              <a:rPr lang="en-GB" noProof="0" smtClean="0"/>
              <a:t>11/03/2023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>
          <a:xfrm>
            <a:off x="359999" y="2160000"/>
            <a:ext cx="2664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359999" y="1800000"/>
            <a:ext cx="2664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29"/>
          </p:nvPr>
        </p:nvSpPr>
        <p:spPr>
          <a:xfrm>
            <a:off x="3237886" y="2160000"/>
            <a:ext cx="2664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30"/>
          </p:nvPr>
        </p:nvSpPr>
        <p:spPr>
          <a:xfrm>
            <a:off x="3237886" y="1800000"/>
            <a:ext cx="2664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half" idx="31"/>
          </p:nvPr>
        </p:nvSpPr>
        <p:spPr>
          <a:xfrm>
            <a:off x="6115773" y="2160000"/>
            <a:ext cx="2664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6115773" y="1800000"/>
            <a:ext cx="2664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2566510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9999" y="1800000"/>
            <a:ext cx="4104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5773" y="1800000"/>
            <a:ext cx="4104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F5FFF000-091D-47C5-9387-17D52AD2CE62}" type="datetime1">
              <a:rPr lang="en-GB" noProof="0" smtClean="0"/>
              <a:t>11/03/2023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1907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/ Text righ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5773" y="1800000"/>
            <a:ext cx="4104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59999" y="1800000"/>
            <a:ext cx="4104000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FEB9FF11-A344-43C4-823B-F8CC00676CD1}" type="datetime1">
              <a:rPr lang="en-GB" noProof="0" smtClean="0"/>
              <a:t>11/03/2023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63965398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5773" y="1800000"/>
            <a:ext cx="4104000" cy="4237200"/>
          </a:xfrm>
          <a:solidFill>
            <a:srgbClr val="009CDE"/>
          </a:solidFill>
        </p:spPr>
        <p:txBody>
          <a:bodyPr lIns="144000" tIns="144000" rIns="144000" bIns="144000"/>
          <a:lstStyle>
            <a:lvl1pPr>
              <a:defRPr sz="1400"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59999" y="1800000"/>
            <a:ext cx="4104000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829A7516-E6F8-4BF1-9169-1AE6A8B4C4E1}" type="datetime1">
              <a:rPr lang="en-GB" noProof="0" smtClean="0"/>
              <a:t>11/03/2023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36226280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59999" y="1800000"/>
            <a:ext cx="8419773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631EE352-73CD-4388-84F2-249FAFD249D6}" type="datetime1">
              <a:rPr lang="en-GB" noProof="0" smtClean="0"/>
              <a:t>11/03/2023</a:t>
            </a:fld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2148289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Intro large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Date Placeholder 17"/>
          <p:cNvSpPr>
            <a:spLocks noGrp="1"/>
          </p:cNvSpPr>
          <p:nvPr>
            <p:ph type="dt" sz="half" idx="14"/>
          </p:nvPr>
        </p:nvSpPr>
        <p:spPr>
          <a:xfrm>
            <a:off x="359999" y="6588208"/>
            <a:ext cx="592501" cy="180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A826542-68AB-4EF5-B2B7-7C8D70871A17}" type="datetime1">
              <a:rPr lang="en-GB" noProof="0" smtClean="0"/>
              <a:pPr/>
              <a:t>11/03/2023</a:t>
            </a:fld>
            <a:endParaRPr lang="en-GB" noProof="0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5"/>
          </p:nvPr>
        </p:nvSpPr>
        <p:spPr>
          <a:xfrm>
            <a:off x="1044744" y="6588208"/>
            <a:ext cx="1698456" cy="180000"/>
          </a:xfrm>
          <a:prstGeom prst="rect">
            <a:avLst/>
          </a:prstGeom>
          <a:noFill/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6"/>
          </p:nvPr>
        </p:nvSpPr>
        <p:spPr>
          <a:xfrm>
            <a:off x="8562325" y="6588208"/>
            <a:ext cx="217448" cy="180000"/>
          </a:xfrm>
          <a:prstGeom prst="rect">
            <a:avLst/>
          </a:prstGeom>
          <a:noFill/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  <a:noFill/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One line Subtitle (optional)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359999" y="1800000"/>
            <a:ext cx="8419774" cy="4237200"/>
          </a:xfrm>
          <a:noFill/>
        </p:spPr>
        <p:txBody>
          <a:bodyPr lIns="0" tIns="0" rIns="0" bIns="0"/>
          <a:lstStyle>
            <a:lvl1pPr>
              <a:lnSpc>
                <a:spcPct val="110000"/>
              </a:lnSpc>
              <a:defRPr sz="1400" b="1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641535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Intro Imag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0" y="2"/>
            <a:ext cx="9144000" cy="6857999"/>
          </a:xfrm>
          <a:solidFill>
            <a:schemeClr val="bg1"/>
          </a:solidFill>
        </p:spPr>
        <p:txBody>
          <a:bodyPr wrap="square" tIns="1980000" bIns="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accent6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, then arrange object (send to back)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/>
          </p:nvPr>
        </p:nvSpPr>
        <p:spPr bwMode="gray">
          <a:xfrm>
            <a:off x="1" y="1800000"/>
            <a:ext cx="3209925" cy="1649446"/>
          </a:xfrm>
          <a:solidFill>
            <a:schemeClr val="tx2">
              <a:alpha val="90000"/>
            </a:schemeClr>
          </a:solidFill>
        </p:spPr>
        <p:txBody>
          <a:bodyPr lIns="360000" tIns="180000" rIns="360000" bIns="180000">
            <a:noAutofit/>
          </a:bodyPr>
          <a:lstStyle>
            <a:lvl1pPr>
              <a:defRPr sz="2800" b="1">
                <a:solidFill>
                  <a:schemeClr val="bg1"/>
                </a:solidFill>
                <a:latin typeface="+mj-lt"/>
              </a:defRPr>
            </a:lvl1pPr>
            <a:lvl2pPr marL="541338" indent="-274638">
              <a:buClr>
                <a:schemeClr val="bg1"/>
              </a:buClr>
              <a:defRPr sz="28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 bwMode="gray"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8AB999A-019E-47DF-9626-59D35A5C5D1F}" type="datetime1">
              <a:rPr lang="en-GB" noProof="0" smtClean="0"/>
              <a:t>11/03/2023</a:t>
            </a:fld>
            <a:endParaRPr lang="en-GB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 bwMode="gray"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|     Title of the pre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 bwMode="gray"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6803373" y="371958"/>
            <a:ext cx="1976400" cy="6948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5022950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30"/>
          </p:nvPr>
        </p:nvSpPr>
        <p:spPr bwMode="gray"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99262F6C-3198-4C0D-9FD3-A522B66D4040}" type="datetime1">
              <a:rPr lang="en-GB" noProof="0" smtClean="0"/>
              <a:t>11/03/2023</a:t>
            </a:fld>
            <a:endParaRPr lang="en-GB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1"/>
          </p:nvPr>
        </p:nvSpPr>
        <p:spPr bwMode="gray"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2"/>
          </p:nvPr>
        </p:nvSpPr>
        <p:spPr bwMode="gray"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8" name="Rectangle 27"/>
          <p:cNvSpPr/>
          <p:nvPr userDrawn="1"/>
        </p:nvSpPr>
        <p:spPr bwMode="gray">
          <a:xfrm>
            <a:off x="360000" y="1800002"/>
            <a:ext cx="4775881" cy="1424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359999" y="2143683"/>
            <a:ext cx="741363" cy="396000"/>
          </a:xfrm>
        </p:spPr>
        <p:txBody>
          <a:bodyPr/>
          <a:lstStyle>
            <a:lvl1pPr>
              <a:defRPr sz="2800" b="1">
                <a:solidFill>
                  <a:srgbClr val="0092CC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 dirty="0"/>
              <a:t>01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1280578" y="2143683"/>
            <a:ext cx="385530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 dirty="0"/>
              <a:t>Headline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5574552" y="2143683"/>
            <a:ext cx="320522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 dirty="0"/>
              <a:t>Speaker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59999" y="2877928"/>
            <a:ext cx="741363" cy="396000"/>
          </a:xfrm>
        </p:spPr>
        <p:txBody>
          <a:bodyPr/>
          <a:lstStyle>
            <a:lvl1pPr>
              <a:defRPr sz="2800" b="1">
                <a:solidFill>
                  <a:srgbClr val="0092CC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2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7" hasCustomPrompt="1"/>
          </p:nvPr>
        </p:nvSpPr>
        <p:spPr>
          <a:xfrm>
            <a:off x="1280578" y="2877928"/>
            <a:ext cx="385530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5574552" y="2877928"/>
            <a:ext cx="320522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39" hasCustomPrompt="1"/>
          </p:nvPr>
        </p:nvSpPr>
        <p:spPr>
          <a:xfrm>
            <a:off x="359999" y="3612173"/>
            <a:ext cx="741363" cy="396000"/>
          </a:xfrm>
        </p:spPr>
        <p:txBody>
          <a:bodyPr/>
          <a:lstStyle>
            <a:lvl1pPr>
              <a:defRPr sz="2800" b="1">
                <a:solidFill>
                  <a:srgbClr val="0092CC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3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1280578" y="3612173"/>
            <a:ext cx="385530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5574552" y="3612173"/>
            <a:ext cx="320522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2" hasCustomPrompt="1"/>
          </p:nvPr>
        </p:nvSpPr>
        <p:spPr>
          <a:xfrm>
            <a:off x="359999" y="4346418"/>
            <a:ext cx="741363" cy="396000"/>
          </a:xfrm>
        </p:spPr>
        <p:txBody>
          <a:bodyPr/>
          <a:lstStyle>
            <a:lvl1pPr>
              <a:defRPr sz="2800" b="1">
                <a:solidFill>
                  <a:srgbClr val="0092CC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4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3" hasCustomPrompt="1"/>
          </p:nvPr>
        </p:nvSpPr>
        <p:spPr>
          <a:xfrm>
            <a:off x="1280578" y="4346418"/>
            <a:ext cx="385530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44" hasCustomPrompt="1"/>
          </p:nvPr>
        </p:nvSpPr>
        <p:spPr>
          <a:xfrm>
            <a:off x="5574552" y="4346418"/>
            <a:ext cx="320522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359999" y="5080663"/>
            <a:ext cx="741363" cy="396000"/>
          </a:xfrm>
        </p:spPr>
        <p:txBody>
          <a:bodyPr/>
          <a:lstStyle>
            <a:lvl1pPr>
              <a:defRPr sz="2800" b="1">
                <a:solidFill>
                  <a:srgbClr val="0092CC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5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1280578" y="5080663"/>
            <a:ext cx="385530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5574552" y="5080663"/>
            <a:ext cx="320522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359999" y="5814910"/>
            <a:ext cx="741363" cy="396000"/>
          </a:xfrm>
        </p:spPr>
        <p:txBody>
          <a:bodyPr/>
          <a:lstStyle>
            <a:lvl1pPr>
              <a:defRPr sz="2800" b="1">
                <a:solidFill>
                  <a:srgbClr val="0092CC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6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1280578" y="5814910"/>
            <a:ext cx="385530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5574552" y="5814910"/>
            <a:ext cx="3205222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8874111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98F2AE24-6C3D-4363-8DA8-E9E849065A01}" type="datetime1">
              <a:rPr lang="en-GB" noProof="0" smtClean="0"/>
              <a:t>11/03/2023</a:t>
            </a:fld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784430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6858000"/>
          </a:xfrm>
          <a:solidFill>
            <a:schemeClr val="bg1"/>
          </a:solidFill>
        </p:spPr>
        <p:txBody>
          <a:bodyPr bIns="198000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accent6"/>
                </a:solidFill>
              </a:defRPr>
            </a:lvl1pPr>
          </a:lstStyle>
          <a:p>
            <a:r>
              <a:rPr lang="en-GB" noProof="0" dirty="0"/>
              <a:t>Click on Icon to add picture, then arrange object (send to back)</a:t>
            </a:r>
            <a:br>
              <a:rPr lang="en-GB" noProof="0" dirty="0"/>
            </a:br>
            <a:r>
              <a:rPr lang="en-GB" noProof="0" dirty="0"/>
              <a:t>Change picture either by 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60000" y="6507006"/>
            <a:ext cx="4478700" cy="247650"/>
          </a:xfrm>
        </p:spPr>
        <p:txBody>
          <a:bodyPr anchor="ctr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Name of Author  |  Function | Division | Country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" y="4482000"/>
            <a:ext cx="9143999" cy="1656000"/>
          </a:xfrm>
          <a:solidFill>
            <a:schemeClr val="tx2">
              <a:alpha val="90000"/>
            </a:schemeClr>
          </a:solidFill>
        </p:spPr>
        <p:txBody>
          <a:bodyPr lIns="360000" tIns="216000" rIns="360000" bIns="216000" numCol="3"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GB" noProof="0" dirty="0"/>
          </a:p>
        </p:txBody>
      </p:sp>
      <p:sp>
        <p:nvSpPr>
          <p:cNvPr id="35" name="Picture Placeholder 8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5595508" y="488563"/>
            <a:ext cx="3172871" cy="11124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  <p:sp>
        <p:nvSpPr>
          <p:cNvPr id="37" name="Text Placeholder 3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7121935" y="6476048"/>
            <a:ext cx="1646444" cy="247650"/>
          </a:xfrm>
        </p:spPr>
        <p:txBody>
          <a:bodyPr rIns="0" anchor="ctr">
            <a:noAutofit/>
          </a:bodyPr>
          <a:lstStyle>
            <a:lvl1pPr algn="ctr">
              <a:defRPr sz="1600" b="1" spc="0" baseline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www.who.int</a:t>
            </a:r>
          </a:p>
        </p:txBody>
      </p:sp>
      <p:sp>
        <p:nvSpPr>
          <p:cNvPr id="3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0" y="485184"/>
            <a:ext cx="5508000" cy="1119158"/>
          </a:xfrm>
          <a:noFill/>
        </p:spPr>
        <p:txBody>
          <a:bodyPr lIns="360000" tIns="72000" rIns="450000" bIns="180000" anchor="t" anchorCtr="0">
            <a:noAutofit/>
          </a:bodyPr>
          <a:lstStyle>
            <a:lvl1pPr algn="l">
              <a:lnSpc>
                <a:spcPct val="85000"/>
              </a:lnSpc>
              <a:defRPr sz="4200">
                <a:solidFill>
                  <a:srgbClr val="0092CC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128421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69" y="177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1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69" y="177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19" y="51841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489517" fontAlgn="base">
              <a:spcBef>
                <a:spcPct val="0"/>
              </a:spcBef>
              <a:spcAft>
                <a:spcPct val="0"/>
              </a:spcAft>
            </a:pPr>
            <a:endParaRPr lang="en-GB" sz="4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0773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537746-0849-4BEE-B36F-9D9D93B26438}" type="datetimeFigureOut">
              <a:rPr lang="en-GB" smtClean="0"/>
              <a:t>11/03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4B3278-631C-41C2-AF33-9CD77602E6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23109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6C78BF3F-558A-4B3C-B451-D04BA3C54A4A}" type="datetime1">
              <a:rPr lang="en-GB" noProof="0" smtClean="0"/>
              <a:t>11/03/2023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>
          <a:xfrm>
            <a:off x="359999" y="2160000"/>
            <a:ext cx="4104000" cy="387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>
          <a:xfrm>
            <a:off x="4675773" y="2160000"/>
            <a:ext cx="4104000" cy="387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359999" y="1800000"/>
            <a:ext cx="4104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4675774" y="1800000"/>
            <a:ext cx="4104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584983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537746-0849-4BEE-B36F-9D9D93B26438}" type="datetimeFigureOut">
              <a:rPr lang="en-GB" smtClean="0"/>
              <a:t>11/03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4B3278-631C-41C2-AF33-9CD77602E6D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898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600EC954-D5DE-4DD1-907A-F19F26ED4621}" type="datetime1">
              <a:rPr lang="en-GB" noProof="0" smtClean="0"/>
              <a:t>11/03/2023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>
          <a:xfrm>
            <a:off x="359999" y="2160000"/>
            <a:ext cx="4104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>
          <a:xfrm>
            <a:off x="4675773" y="2160000"/>
            <a:ext cx="4104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359999" y="1800000"/>
            <a:ext cx="4104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8"/>
          </p:nvPr>
        </p:nvSpPr>
        <p:spPr>
          <a:xfrm>
            <a:off x="4675774" y="1800000"/>
            <a:ext cx="4104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sz="half" idx="30"/>
          </p:nvPr>
        </p:nvSpPr>
        <p:spPr>
          <a:xfrm>
            <a:off x="359999" y="4381200"/>
            <a:ext cx="4104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half" idx="34"/>
          </p:nvPr>
        </p:nvSpPr>
        <p:spPr>
          <a:xfrm>
            <a:off x="4675773" y="4381200"/>
            <a:ext cx="4104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5"/>
          </p:nvPr>
        </p:nvSpPr>
        <p:spPr>
          <a:xfrm>
            <a:off x="359999" y="4039524"/>
            <a:ext cx="4104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6"/>
          </p:nvPr>
        </p:nvSpPr>
        <p:spPr>
          <a:xfrm>
            <a:off x="4675774" y="4039524"/>
            <a:ext cx="4104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64435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539959C5-8A63-4BDF-9345-C80A98690B8E}" type="datetime1">
              <a:rPr lang="en-GB" noProof="0" smtClean="0"/>
              <a:t>11/03/2023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>
          <a:xfrm>
            <a:off x="359999" y="2160000"/>
            <a:ext cx="2664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359999" y="1800000"/>
            <a:ext cx="2664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29"/>
          </p:nvPr>
        </p:nvSpPr>
        <p:spPr>
          <a:xfrm>
            <a:off x="3237886" y="2160000"/>
            <a:ext cx="2664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30"/>
          </p:nvPr>
        </p:nvSpPr>
        <p:spPr>
          <a:xfrm>
            <a:off x="3237886" y="1800000"/>
            <a:ext cx="2664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half" idx="31"/>
          </p:nvPr>
        </p:nvSpPr>
        <p:spPr>
          <a:xfrm>
            <a:off x="6115773" y="2160000"/>
            <a:ext cx="2664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32"/>
          </p:nvPr>
        </p:nvSpPr>
        <p:spPr>
          <a:xfrm>
            <a:off x="6115773" y="1800000"/>
            <a:ext cx="2664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7160058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/ Text righ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5773" y="1800000"/>
            <a:ext cx="4104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359999" y="1800000"/>
            <a:ext cx="4104000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 baseline="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>
          <a:xfrm>
            <a:off x="359999" y="6588208"/>
            <a:ext cx="592501" cy="180000"/>
          </a:xfrm>
          <a:prstGeom prst="rect">
            <a:avLst/>
          </a:prstGeom>
        </p:spPr>
        <p:txBody>
          <a:bodyPr/>
          <a:lstStyle/>
          <a:p>
            <a:fld id="{FEB9FF11-A344-43C4-823B-F8CC00676CD1}" type="datetime1">
              <a:rPr lang="en-GB" noProof="0" smtClean="0"/>
              <a:t>11/03/2023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>
          <a:xfrm>
            <a:off x="1044744" y="6588208"/>
            <a:ext cx="1698456" cy="180000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>
          <a:xfrm>
            <a:off x="8562325" y="6588208"/>
            <a:ext cx="217448" cy="180000"/>
          </a:xfrm>
          <a:prstGeom prst="rect">
            <a:avLst/>
          </a:prstGeom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60000" y="6293650"/>
            <a:ext cx="8419774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1188002"/>
            <a:ext cx="612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728531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theme" Target="../theme/theme1.xml"/><Relationship Id="rId23" Type="http://schemas.openxmlformats.org/officeDocument/2006/relationships/vmlDrawing" Target="../drawings/vmlDrawing1.vml"/><Relationship Id="rId24" Type="http://schemas.openxmlformats.org/officeDocument/2006/relationships/tags" Target="../tags/tag2.xml"/><Relationship Id="rId25" Type="http://schemas.openxmlformats.org/officeDocument/2006/relationships/tags" Target="../tags/tag3.xml"/><Relationship Id="rId26" Type="http://schemas.openxmlformats.org/officeDocument/2006/relationships/tags" Target="../tags/tag4.xml"/><Relationship Id="rId27" Type="http://schemas.openxmlformats.org/officeDocument/2006/relationships/tags" Target="../tags/tag5.xml"/><Relationship Id="rId28" Type="http://schemas.openxmlformats.org/officeDocument/2006/relationships/tags" Target="../tags/tag6.xml"/><Relationship Id="rId29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tags" Target="../tags/tag8.xml"/><Relationship Id="rId31" Type="http://schemas.openxmlformats.org/officeDocument/2006/relationships/tags" Target="../tags/tag9.xml"/><Relationship Id="rId32" Type="http://schemas.openxmlformats.org/officeDocument/2006/relationships/tags" Target="../tags/tag10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tags" Target="../tags/tag11.xml"/><Relationship Id="rId34" Type="http://schemas.openxmlformats.org/officeDocument/2006/relationships/tags" Target="../tags/tag12.xml"/><Relationship Id="rId35" Type="http://schemas.openxmlformats.org/officeDocument/2006/relationships/tags" Target="../tags/tag13.xml"/><Relationship Id="rId36" Type="http://schemas.openxmlformats.org/officeDocument/2006/relationships/tags" Target="../tags/tag14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tags" Target="../tags/tag15.xml"/><Relationship Id="rId38" Type="http://schemas.openxmlformats.org/officeDocument/2006/relationships/tags" Target="../tags/tag16.xml"/><Relationship Id="rId39" Type="http://schemas.openxmlformats.org/officeDocument/2006/relationships/tags" Target="../tags/tag17.xml"/><Relationship Id="rId40" Type="http://schemas.openxmlformats.org/officeDocument/2006/relationships/tags" Target="../tags/tag18.xml"/><Relationship Id="rId41" Type="http://schemas.openxmlformats.org/officeDocument/2006/relationships/oleObject" Target="../embeddings/oleObject1.bin"/><Relationship Id="rId42" Type="http://schemas.openxmlformats.org/officeDocument/2006/relationships/image" Target="../media/image1.emf"/><Relationship Id="rId43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6.xml"/><Relationship Id="rId20" Type="http://schemas.openxmlformats.org/officeDocument/2006/relationships/tags" Target="../tags/tag37.xml"/><Relationship Id="rId21" Type="http://schemas.openxmlformats.org/officeDocument/2006/relationships/tags" Target="../tags/tag38.xml"/><Relationship Id="rId22" Type="http://schemas.openxmlformats.org/officeDocument/2006/relationships/tags" Target="../tags/tag39.xml"/><Relationship Id="rId23" Type="http://schemas.openxmlformats.org/officeDocument/2006/relationships/oleObject" Target="../embeddings/oleObject6.bin"/><Relationship Id="rId24" Type="http://schemas.openxmlformats.org/officeDocument/2006/relationships/image" Target="../media/image1.emf"/><Relationship Id="rId25" Type="http://schemas.openxmlformats.org/officeDocument/2006/relationships/image" Target="../media/image2.jpeg"/><Relationship Id="rId10" Type="http://schemas.openxmlformats.org/officeDocument/2006/relationships/tags" Target="../tags/tag27.xml"/><Relationship Id="rId11" Type="http://schemas.openxmlformats.org/officeDocument/2006/relationships/tags" Target="../tags/tag28.xml"/><Relationship Id="rId12" Type="http://schemas.openxmlformats.org/officeDocument/2006/relationships/tags" Target="../tags/tag29.xml"/><Relationship Id="rId13" Type="http://schemas.openxmlformats.org/officeDocument/2006/relationships/tags" Target="../tags/tag30.xml"/><Relationship Id="rId14" Type="http://schemas.openxmlformats.org/officeDocument/2006/relationships/tags" Target="../tags/tag31.xml"/><Relationship Id="rId15" Type="http://schemas.openxmlformats.org/officeDocument/2006/relationships/tags" Target="../tags/tag32.xml"/><Relationship Id="rId16" Type="http://schemas.openxmlformats.org/officeDocument/2006/relationships/tags" Target="../tags/tag33.xml"/><Relationship Id="rId17" Type="http://schemas.openxmlformats.org/officeDocument/2006/relationships/tags" Target="../tags/tag34.xml"/><Relationship Id="rId18" Type="http://schemas.openxmlformats.org/officeDocument/2006/relationships/tags" Target="../tags/tag35.xml"/><Relationship Id="rId19" Type="http://schemas.openxmlformats.org/officeDocument/2006/relationships/tags" Target="../tags/tag36.xml"/><Relationship Id="rId1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3.xml"/><Relationship Id="rId3" Type="http://schemas.openxmlformats.org/officeDocument/2006/relationships/slideLayout" Target="../slideLayouts/slideLayout24.xml"/><Relationship Id="rId4" Type="http://schemas.openxmlformats.org/officeDocument/2006/relationships/theme" Target="../theme/theme2.xml"/><Relationship Id="rId5" Type="http://schemas.openxmlformats.org/officeDocument/2006/relationships/vmlDrawing" Target="../drawings/vmlDrawing6.vml"/><Relationship Id="rId6" Type="http://schemas.openxmlformats.org/officeDocument/2006/relationships/tags" Target="../tags/tag23.xml"/><Relationship Id="rId7" Type="http://schemas.openxmlformats.org/officeDocument/2006/relationships/tags" Target="../tags/tag24.xml"/><Relationship Id="rId8" Type="http://schemas.openxmlformats.org/officeDocument/2006/relationships/tags" Target="../tags/tag25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45.xml"/><Relationship Id="rId20" Type="http://schemas.openxmlformats.org/officeDocument/2006/relationships/tags" Target="../tags/tag56.xml"/><Relationship Id="rId21" Type="http://schemas.openxmlformats.org/officeDocument/2006/relationships/tags" Target="../tags/tag57.xml"/><Relationship Id="rId22" Type="http://schemas.openxmlformats.org/officeDocument/2006/relationships/tags" Target="../tags/tag58.xml"/><Relationship Id="rId23" Type="http://schemas.openxmlformats.org/officeDocument/2006/relationships/tags" Target="../tags/tag59.xml"/><Relationship Id="rId24" Type="http://schemas.openxmlformats.org/officeDocument/2006/relationships/oleObject" Target="../embeddings/oleObject10.bin"/><Relationship Id="rId25" Type="http://schemas.openxmlformats.org/officeDocument/2006/relationships/image" Target="../media/image1.emf"/><Relationship Id="rId26" Type="http://schemas.openxmlformats.org/officeDocument/2006/relationships/image" Target="../media/image11.jpeg"/><Relationship Id="rId10" Type="http://schemas.openxmlformats.org/officeDocument/2006/relationships/tags" Target="../tags/tag46.xml"/><Relationship Id="rId11" Type="http://schemas.openxmlformats.org/officeDocument/2006/relationships/tags" Target="../tags/tag47.xml"/><Relationship Id="rId12" Type="http://schemas.openxmlformats.org/officeDocument/2006/relationships/tags" Target="../tags/tag48.xml"/><Relationship Id="rId13" Type="http://schemas.openxmlformats.org/officeDocument/2006/relationships/tags" Target="../tags/tag49.xml"/><Relationship Id="rId14" Type="http://schemas.openxmlformats.org/officeDocument/2006/relationships/tags" Target="../tags/tag50.xml"/><Relationship Id="rId15" Type="http://schemas.openxmlformats.org/officeDocument/2006/relationships/tags" Target="../tags/tag51.xml"/><Relationship Id="rId16" Type="http://schemas.openxmlformats.org/officeDocument/2006/relationships/tags" Target="../tags/tag52.xml"/><Relationship Id="rId17" Type="http://schemas.openxmlformats.org/officeDocument/2006/relationships/tags" Target="../tags/tag53.xml"/><Relationship Id="rId18" Type="http://schemas.openxmlformats.org/officeDocument/2006/relationships/tags" Target="../tags/tag54.xml"/><Relationship Id="rId19" Type="http://schemas.openxmlformats.org/officeDocument/2006/relationships/tags" Target="../tags/tag55.xml"/><Relationship Id="rId1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8.xml"/><Relationship Id="rId5" Type="http://schemas.openxmlformats.org/officeDocument/2006/relationships/theme" Target="../theme/theme3.xml"/><Relationship Id="rId6" Type="http://schemas.openxmlformats.org/officeDocument/2006/relationships/vmlDrawing" Target="../drawings/vmlDrawing10.vml"/><Relationship Id="rId7" Type="http://schemas.openxmlformats.org/officeDocument/2006/relationships/tags" Target="../tags/tag43.xml"/><Relationship Id="rId8" Type="http://schemas.openxmlformats.org/officeDocument/2006/relationships/tags" Target="../tags/tag44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69.xml"/><Relationship Id="rId20" Type="http://schemas.openxmlformats.org/officeDocument/2006/relationships/tags" Target="../tags/tag80.xml"/><Relationship Id="rId21" Type="http://schemas.openxmlformats.org/officeDocument/2006/relationships/tags" Target="../tags/tag81.xml"/><Relationship Id="rId22" Type="http://schemas.openxmlformats.org/officeDocument/2006/relationships/tags" Target="../tags/tag82.xml"/><Relationship Id="rId23" Type="http://schemas.openxmlformats.org/officeDocument/2006/relationships/oleObject" Target="../embeddings/oleObject14.bin"/><Relationship Id="rId24" Type="http://schemas.openxmlformats.org/officeDocument/2006/relationships/image" Target="../media/image1.emf"/><Relationship Id="rId25" Type="http://schemas.openxmlformats.org/officeDocument/2006/relationships/image" Target="../media/image2.jpeg"/><Relationship Id="rId10" Type="http://schemas.openxmlformats.org/officeDocument/2006/relationships/tags" Target="../tags/tag70.xml"/><Relationship Id="rId11" Type="http://schemas.openxmlformats.org/officeDocument/2006/relationships/tags" Target="../tags/tag71.xml"/><Relationship Id="rId12" Type="http://schemas.openxmlformats.org/officeDocument/2006/relationships/tags" Target="../tags/tag72.xml"/><Relationship Id="rId13" Type="http://schemas.openxmlformats.org/officeDocument/2006/relationships/tags" Target="../tags/tag73.xml"/><Relationship Id="rId14" Type="http://schemas.openxmlformats.org/officeDocument/2006/relationships/tags" Target="../tags/tag74.xml"/><Relationship Id="rId15" Type="http://schemas.openxmlformats.org/officeDocument/2006/relationships/tags" Target="../tags/tag75.xml"/><Relationship Id="rId16" Type="http://schemas.openxmlformats.org/officeDocument/2006/relationships/tags" Target="../tags/tag76.xml"/><Relationship Id="rId17" Type="http://schemas.openxmlformats.org/officeDocument/2006/relationships/tags" Target="../tags/tag77.xml"/><Relationship Id="rId18" Type="http://schemas.openxmlformats.org/officeDocument/2006/relationships/tags" Target="../tags/tag78.xml"/><Relationship Id="rId19" Type="http://schemas.openxmlformats.org/officeDocument/2006/relationships/tags" Target="../tags/tag79.xml"/><Relationship Id="rId1" Type="http://schemas.openxmlformats.org/officeDocument/2006/relationships/slideLayout" Target="../slideLayouts/slideLayout29.xml"/><Relationship Id="rId2" Type="http://schemas.openxmlformats.org/officeDocument/2006/relationships/slideLayout" Target="../slideLayouts/slideLayout30.xml"/><Relationship Id="rId3" Type="http://schemas.openxmlformats.org/officeDocument/2006/relationships/slideLayout" Target="../slideLayouts/slideLayout31.xml"/><Relationship Id="rId4" Type="http://schemas.openxmlformats.org/officeDocument/2006/relationships/theme" Target="../theme/theme4.xml"/><Relationship Id="rId5" Type="http://schemas.openxmlformats.org/officeDocument/2006/relationships/vmlDrawing" Target="../drawings/vmlDrawing14.vml"/><Relationship Id="rId6" Type="http://schemas.openxmlformats.org/officeDocument/2006/relationships/tags" Target="../tags/tag66.xml"/><Relationship Id="rId7" Type="http://schemas.openxmlformats.org/officeDocument/2006/relationships/tags" Target="../tags/tag67.xml"/><Relationship Id="rId8" Type="http://schemas.openxmlformats.org/officeDocument/2006/relationships/tags" Target="../tags/tag6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theme" Target="../theme/theme5.xml"/><Relationship Id="rId5" Type="http://schemas.openxmlformats.org/officeDocument/2006/relationships/vmlDrawing" Target="../drawings/vmlDrawing18.vml"/><Relationship Id="rId6" Type="http://schemas.openxmlformats.org/officeDocument/2006/relationships/tags" Target="../tags/tag86.xml"/><Relationship Id="rId7" Type="http://schemas.openxmlformats.org/officeDocument/2006/relationships/oleObject" Target="../embeddings/oleObject18.bin"/><Relationship Id="rId8" Type="http://schemas.openxmlformats.org/officeDocument/2006/relationships/image" Target="../media/image13.emf"/><Relationship Id="rId1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3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tags" Target="../tags/tag96.xml"/><Relationship Id="rId20" Type="http://schemas.openxmlformats.org/officeDocument/2006/relationships/tags" Target="../tags/tag107.xml"/><Relationship Id="rId21" Type="http://schemas.openxmlformats.org/officeDocument/2006/relationships/tags" Target="../tags/tag108.xml"/><Relationship Id="rId22" Type="http://schemas.openxmlformats.org/officeDocument/2006/relationships/tags" Target="../tags/tag109.xml"/><Relationship Id="rId23" Type="http://schemas.openxmlformats.org/officeDocument/2006/relationships/oleObject" Target="../embeddings/oleObject22.bin"/><Relationship Id="rId24" Type="http://schemas.openxmlformats.org/officeDocument/2006/relationships/image" Target="../media/image1.emf"/><Relationship Id="rId25" Type="http://schemas.openxmlformats.org/officeDocument/2006/relationships/image" Target="../media/image17.jpeg"/><Relationship Id="rId10" Type="http://schemas.openxmlformats.org/officeDocument/2006/relationships/tags" Target="../tags/tag97.xml"/><Relationship Id="rId11" Type="http://schemas.openxmlformats.org/officeDocument/2006/relationships/tags" Target="../tags/tag98.xml"/><Relationship Id="rId12" Type="http://schemas.openxmlformats.org/officeDocument/2006/relationships/tags" Target="../tags/tag99.xml"/><Relationship Id="rId13" Type="http://schemas.openxmlformats.org/officeDocument/2006/relationships/tags" Target="../tags/tag100.xml"/><Relationship Id="rId14" Type="http://schemas.openxmlformats.org/officeDocument/2006/relationships/tags" Target="../tags/tag101.xml"/><Relationship Id="rId15" Type="http://schemas.openxmlformats.org/officeDocument/2006/relationships/tags" Target="../tags/tag102.xml"/><Relationship Id="rId16" Type="http://schemas.openxmlformats.org/officeDocument/2006/relationships/tags" Target="../tags/tag103.xml"/><Relationship Id="rId17" Type="http://schemas.openxmlformats.org/officeDocument/2006/relationships/tags" Target="../tags/tag104.xml"/><Relationship Id="rId18" Type="http://schemas.openxmlformats.org/officeDocument/2006/relationships/tags" Target="../tags/tag105.xml"/><Relationship Id="rId19" Type="http://schemas.openxmlformats.org/officeDocument/2006/relationships/tags" Target="../tags/tag106.xml"/><Relationship Id="rId1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7.xml"/><Relationship Id="rId4" Type="http://schemas.openxmlformats.org/officeDocument/2006/relationships/theme" Target="../theme/theme6.xml"/><Relationship Id="rId5" Type="http://schemas.openxmlformats.org/officeDocument/2006/relationships/vmlDrawing" Target="../drawings/vmlDrawing22.vml"/><Relationship Id="rId6" Type="http://schemas.openxmlformats.org/officeDocument/2006/relationships/tags" Target="../tags/tag93.xml"/><Relationship Id="rId7" Type="http://schemas.openxmlformats.org/officeDocument/2006/relationships/tags" Target="../tags/tag94.xml"/><Relationship Id="rId8" Type="http://schemas.openxmlformats.org/officeDocument/2006/relationships/tags" Target="../tags/tag95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tags" Target="../tags/tag115.xml"/><Relationship Id="rId20" Type="http://schemas.openxmlformats.org/officeDocument/2006/relationships/tags" Target="../tags/tag126.xml"/><Relationship Id="rId21" Type="http://schemas.openxmlformats.org/officeDocument/2006/relationships/tags" Target="../tags/tag127.xml"/><Relationship Id="rId22" Type="http://schemas.openxmlformats.org/officeDocument/2006/relationships/tags" Target="../tags/tag128.xml"/><Relationship Id="rId23" Type="http://schemas.openxmlformats.org/officeDocument/2006/relationships/tags" Target="../tags/tag129.xml"/><Relationship Id="rId24" Type="http://schemas.openxmlformats.org/officeDocument/2006/relationships/oleObject" Target="../embeddings/oleObject26.bin"/><Relationship Id="rId25" Type="http://schemas.openxmlformats.org/officeDocument/2006/relationships/image" Target="../media/image1.emf"/><Relationship Id="rId26" Type="http://schemas.openxmlformats.org/officeDocument/2006/relationships/image" Target="../media/image11.jpeg"/><Relationship Id="rId10" Type="http://schemas.openxmlformats.org/officeDocument/2006/relationships/tags" Target="../tags/tag116.xml"/><Relationship Id="rId11" Type="http://schemas.openxmlformats.org/officeDocument/2006/relationships/tags" Target="../tags/tag117.xml"/><Relationship Id="rId12" Type="http://schemas.openxmlformats.org/officeDocument/2006/relationships/tags" Target="../tags/tag118.xml"/><Relationship Id="rId13" Type="http://schemas.openxmlformats.org/officeDocument/2006/relationships/tags" Target="../tags/tag119.xml"/><Relationship Id="rId14" Type="http://schemas.openxmlformats.org/officeDocument/2006/relationships/tags" Target="../tags/tag120.xml"/><Relationship Id="rId15" Type="http://schemas.openxmlformats.org/officeDocument/2006/relationships/tags" Target="../tags/tag121.xml"/><Relationship Id="rId16" Type="http://schemas.openxmlformats.org/officeDocument/2006/relationships/tags" Target="../tags/tag122.xml"/><Relationship Id="rId17" Type="http://schemas.openxmlformats.org/officeDocument/2006/relationships/tags" Target="../tags/tag123.xml"/><Relationship Id="rId18" Type="http://schemas.openxmlformats.org/officeDocument/2006/relationships/tags" Target="../tags/tag124.xml"/><Relationship Id="rId19" Type="http://schemas.openxmlformats.org/officeDocument/2006/relationships/tags" Target="../tags/tag125.xml"/><Relationship Id="rId1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9.xml"/><Relationship Id="rId3" Type="http://schemas.openxmlformats.org/officeDocument/2006/relationships/slideLayout" Target="../slideLayouts/slideLayout40.xml"/><Relationship Id="rId4" Type="http://schemas.openxmlformats.org/officeDocument/2006/relationships/slideLayout" Target="../slideLayouts/slideLayout41.xml"/><Relationship Id="rId5" Type="http://schemas.openxmlformats.org/officeDocument/2006/relationships/theme" Target="../theme/theme7.xml"/><Relationship Id="rId6" Type="http://schemas.openxmlformats.org/officeDocument/2006/relationships/vmlDrawing" Target="../drawings/vmlDrawing26.vml"/><Relationship Id="rId7" Type="http://schemas.openxmlformats.org/officeDocument/2006/relationships/tags" Target="../tags/tag113.xml"/><Relationship Id="rId8" Type="http://schemas.openxmlformats.org/officeDocument/2006/relationships/tags" Target="../tags/tag114.xml"/></Relationships>
</file>

<file path=ppt/slideMasters/_rels/slideMaster8.xml.rels><?xml version="1.0" encoding="UTF-8" standalone="yes"?>
<Relationships xmlns="http://schemas.openxmlformats.org/package/2006/relationships"><Relationship Id="rId20" Type="http://schemas.openxmlformats.org/officeDocument/2006/relationships/theme" Target="../theme/theme8.xml"/><Relationship Id="rId21" Type="http://schemas.openxmlformats.org/officeDocument/2006/relationships/vmlDrawing" Target="../drawings/vmlDrawing31.vml"/><Relationship Id="rId22" Type="http://schemas.openxmlformats.org/officeDocument/2006/relationships/tags" Target="../tags/tag138.xml"/><Relationship Id="rId23" Type="http://schemas.openxmlformats.org/officeDocument/2006/relationships/tags" Target="../tags/tag139.xml"/><Relationship Id="rId24" Type="http://schemas.openxmlformats.org/officeDocument/2006/relationships/tags" Target="../tags/tag140.xml"/><Relationship Id="rId25" Type="http://schemas.openxmlformats.org/officeDocument/2006/relationships/tags" Target="../tags/tag141.xml"/><Relationship Id="rId26" Type="http://schemas.openxmlformats.org/officeDocument/2006/relationships/tags" Target="../tags/tag142.xml"/><Relationship Id="rId27" Type="http://schemas.openxmlformats.org/officeDocument/2006/relationships/tags" Target="../tags/tag143.xml"/><Relationship Id="rId28" Type="http://schemas.openxmlformats.org/officeDocument/2006/relationships/tags" Target="../tags/tag144.xml"/><Relationship Id="rId29" Type="http://schemas.openxmlformats.org/officeDocument/2006/relationships/tags" Target="../tags/tag145.xml"/><Relationship Id="rId1" Type="http://schemas.openxmlformats.org/officeDocument/2006/relationships/slideLayout" Target="../slideLayouts/slideLayout42.xml"/><Relationship Id="rId2" Type="http://schemas.openxmlformats.org/officeDocument/2006/relationships/slideLayout" Target="../slideLayouts/slideLayout43.xml"/><Relationship Id="rId3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5.xml"/><Relationship Id="rId5" Type="http://schemas.openxmlformats.org/officeDocument/2006/relationships/slideLayout" Target="../slideLayouts/slideLayout46.xml"/><Relationship Id="rId30" Type="http://schemas.openxmlformats.org/officeDocument/2006/relationships/tags" Target="../tags/tag146.xml"/><Relationship Id="rId31" Type="http://schemas.openxmlformats.org/officeDocument/2006/relationships/tags" Target="../tags/tag147.xml"/><Relationship Id="rId32" Type="http://schemas.openxmlformats.org/officeDocument/2006/relationships/tags" Target="../tags/tag148.xml"/><Relationship Id="rId9" Type="http://schemas.openxmlformats.org/officeDocument/2006/relationships/slideLayout" Target="../slideLayouts/slideLayout50.xml"/><Relationship Id="rId6" Type="http://schemas.openxmlformats.org/officeDocument/2006/relationships/slideLayout" Target="../slideLayouts/slideLayout47.xml"/><Relationship Id="rId7" Type="http://schemas.openxmlformats.org/officeDocument/2006/relationships/slideLayout" Target="../slideLayouts/slideLayout48.xml"/><Relationship Id="rId8" Type="http://schemas.openxmlformats.org/officeDocument/2006/relationships/slideLayout" Target="../slideLayouts/slideLayout49.xml"/><Relationship Id="rId33" Type="http://schemas.openxmlformats.org/officeDocument/2006/relationships/tags" Target="../tags/tag149.xml"/><Relationship Id="rId34" Type="http://schemas.openxmlformats.org/officeDocument/2006/relationships/tags" Target="../tags/tag150.xml"/><Relationship Id="rId35" Type="http://schemas.openxmlformats.org/officeDocument/2006/relationships/tags" Target="../tags/tag151.xml"/><Relationship Id="rId36" Type="http://schemas.openxmlformats.org/officeDocument/2006/relationships/tags" Target="../tags/tag152.xml"/><Relationship Id="rId10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0.xml"/><Relationship Id="rId37" Type="http://schemas.openxmlformats.org/officeDocument/2006/relationships/tags" Target="../tags/tag153.xml"/><Relationship Id="rId38" Type="http://schemas.openxmlformats.org/officeDocument/2006/relationships/tags" Target="../tags/tag154.xml"/><Relationship Id="rId39" Type="http://schemas.openxmlformats.org/officeDocument/2006/relationships/oleObject" Target="../embeddings/oleObject31.bin"/><Relationship Id="rId40" Type="http://schemas.openxmlformats.org/officeDocument/2006/relationships/image" Target="../media/image1.emf"/><Relationship Id="rId41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291176987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" name="think-cell Slide" r:id="rId41" imgW="270" imgH="270" progId="TCLayout.ActiveDocument.1">
                  <p:embed/>
                </p:oleObj>
              </mc:Choice>
              <mc:Fallback>
                <p:oleObj name="think-cell Slide" r:id="rId4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5"/>
            </p:custDataLst>
          </p:nvPr>
        </p:nvSpPr>
        <p:spPr bwMode="auto">
          <a:xfrm>
            <a:off x="2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665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GB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21493" y="77307"/>
            <a:ext cx="3783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21665" y="566142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auto">
          <a:xfrm>
            <a:off x="121668" y="6467309"/>
            <a:ext cx="7263909" cy="280557"/>
            <a:chOff x="119063" y="6356410"/>
            <a:chExt cx="7118884" cy="27497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356410"/>
              <a:ext cx="7118884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8597" indent="-68597">
                <a:defRPr/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3" y="6508272"/>
              <a:ext cx="7118884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236" indent="-377236" defTabSz="897016">
                <a:tabLst/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482160" y="1991016"/>
            <a:ext cx="4389768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GB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1280087"/>
            <a:ext cx="4350892" cy="521559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GB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1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7016"/>
            <a:endParaRPr lang="en-GB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104" name="McKSticker" hidden="1"/>
          <p:cNvGrpSpPr/>
          <p:nvPr/>
        </p:nvGrpSpPr>
        <p:grpSpPr bwMode="auto">
          <a:xfrm>
            <a:off x="8552905" y="285758"/>
            <a:ext cx="362728" cy="150811"/>
            <a:chOff x="8378046" y="285750"/>
            <a:chExt cx="362729" cy="150811"/>
          </a:xfrm>
        </p:grpSpPr>
        <p:sp>
          <p:nvSpPr>
            <p:cNvPr id="105" name="StickerRectangle"/>
            <p:cNvSpPr>
              <a:spLocks noChangeArrowheads="1"/>
            </p:cNvSpPr>
            <p:nvPr/>
          </p:nvSpPr>
          <p:spPr bwMode="auto">
            <a:xfrm>
              <a:off x="8378046" y="285750"/>
              <a:ext cx="36272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79174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106" name="AutoShape 31"/>
            <p:cNvCxnSpPr>
              <a:cxnSpLocks noChangeShapeType="1"/>
              <a:stCxn id="105" idx="2"/>
              <a:endCxn id="105" idx="4"/>
            </p:cNvCxnSpPr>
            <p:nvPr/>
          </p:nvCxnSpPr>
          <p:spPr bwMode="auto">
            <a:xfrm>
              <a:off x="837804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7" name="AutoShape 32"/>
            <p:cNvCxnSpPr>
              <a:cxnSpLocks noChangeShapeType="1"/>
              <a:stCxn id="105" idx="4"/>
              <a:endCxn id="105" idx="6"/>
            </p:cNvCxnSpPr>
            <p:nvPr/>
          </p:nvCxnSpPr>
          <p:spPr bwMode="auto">
            <a:xfrm>
              <a:off x="8378046" y="436561"/>
              <a:ext cx="36272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8" name="LegendBoxes" hidden="1"/>
          <p:cNvGrpSpPr/>
          <p:nvPr/>
        </p:nvGrpSpPr>
        <p:grpSpPr bwMode="auto">
          <a:xfrm>
            <a:off x="8212453" y="279405"/>
            <a:ext cx="703161" cy="997467"/>
            <a:chOff x="7835905" y="279400"/>
            <a:chExt cx="703163" cy="997467"/>
          </a:xfrm>
        </p:grpSpPr>
        <p:sp>
          <p:nvSpPr>
            <p:cNvPr id="109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0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1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2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3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4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5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7" name="LegendLines" hidden="1"/>
          <p:cNvGrpSpPr/>
          <p:nvPr/>
        </p:nvGrpSpPr>
        <p:grpSpPr bwMode="auto">
          <a:xfrm>
            <a:off x="7904640" y="279577"/>
            <a:ext cx="1011136" cy="730766"/>
            <a:chOff x="7540629" y="279400"/>
            <a:chExt cx="1011137" cy="730767"/>
          </a:xfrm>
        </p:grpSpPr>
        <p:sp>
          <p:nvSpPr>
            <p:cNvPr id="118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9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20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21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3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24" name="LegendMoons" hidden="1"/>
          <p:cNvGrpSpPr/>
          <p:nvPr/>
        </p:nvGrpSpPr>
        <p:grpSpPr bwMode="auto">
          <a:xfrm>
            <a:off x="8145782" y="250828"/>
            <a:ext cx="769838" cy="1306516"/>
            <a:chOff x="7769225" y="250825"/>
            <a:chExt cx="769838" cy="1306516"/>
          </a:xfrm>
        </p:grpSpPr>
        <p:grpSp>
          <p:nvGrpSpPr>
            <p:cNvPr id="125" name="MoonLegend1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43" name="Oval 38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44" name="Arc 39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26" name="MoonLegend2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41" name="Oval 4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42" name="Arc 42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27" name="MoonLegend4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39" name="Oval 47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40" name="Arc 48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28" name="MoonLegend5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37" name="Oval 50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8" name="Oval 5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29" name="MoonLegend3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35" name="Oval 47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6" name="Arc 48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30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31" name="Legend2"/>
            <p:cNvSpPr>
              <a:spLocks noChangeArrowheads="1"/>
            </p:cNvSpPr>
            <p:nvPr/>
          </p:nvSpPr>
          <p:spPr bwMode="auto">
            <a:xfrm>
              <a:off x="8089901" y="538163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32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33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34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45" name="Slide Number"/>
          <p:cNvSpPr txBox="1">
            <a:spLocks/>
          </p:cNvSpPr>
          <p:nvPr/>
        </p:nvSpPr>
        <p:spPr bwMode="auto">
          <a:xfrm>
            <a:off x="8742246" y="6624807"/>
            <a:ext cx="12182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GB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800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GB" sz="800" baseline="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59" name="Picture 4" descr="Image result for world health organisation logo png"/>
          <p:cNvPicPr>
            <a:picLocks noChangeAspect="1" noChangeArrowheads="1"/>
          </p:cNvPicPr>
          <p:nvPr/>
        </p:nvPicPr>
        <p:blipFill rotWithShape="1">
          <a:blip r:embed="rId4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91898" y="6462822"/>
            <a:ext cx="940642" cy="323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4404" r:id="rId4"/>
    <p:sldLayoutId id="2147484406" r:id="rId5"/>
    <p:sldLayoutId id="2147484407" r:id="rId6"/>
    <p:sldLayoutId id="2147484408" r:id="rId7"/>
    <p:sldLayoutId id="2147484409" r:id="rId8"/>
    <p:sldLayoutId id="2147484410" r:id="rId9"/>
    <p:sldLayoutId id="2147484411" r:id="rId10"/>
    <p:sldLayoutId id="2147484412" r:id="rId11"/>
    <p:sldLayoutId id="2147484413" r:id="rId12"/>
    <p:sldLayoutId id="2147484414" r:id="rId13"/>
    <p:sldLayoutId id="2147484415" r:id="rId14"/>
    <p:sldLayoutId id="2147484416" r:id="rId15"/>
    <p:sldLayoutId id="2147484417" r:id="rId16"/>
    <p:sldLayoutId id="2147484418" r:id="rId17"/>
    <p:sldLayoutId id="2147484445" r:id="rId18"/>
    <p:sldLayoutId id="2147484446" r:id="rId19"/>
    <p:sldLayoutId id="2147484447" r:id="rId20"/>
    <p:sldLayoutId id="2147484460" r:id="rId21"/>
  </p:sldLayoutIdLst>
  <p:hf hdr="0" ftr="0" dt="0"/>
  <p:txStyles>
    <p:titleStyle>
      <a:lvl1pPr algn="l" defTabSz="897016" rtl="0" eaLnBrk="1" fontAlgn="base" hangingPunct="1">
        <a:spcBef>
          <a:spcPct val="0"/>
        </a:spcBef>
        <a:spcAft>
          <a:spcPct val="0"/>
        </a:spcAft>
        <a:tabLst>
          <a:tab pos="270383" algn="l"/>
        </a:tabLst>
        <a:defRPr sz="200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8000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6095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4154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32209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038" indent="-192451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8000" indent="-262431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5510" indent="-155866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GB"/>
      </a:defPPr>
      <a:lvl1pPr marL="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800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6095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4154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2209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90262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8317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637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64422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2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665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21493" y="77307"/>
            <a:ext cx="3783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21665" y="566142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auto">
          <a:xfrm>
            <a:off x="121668" y="6467309"/>
            <a:ext cx="7263909" cy="280557"/>
            <a:chOff x="119063" y="6356410"/>
            <a:chExt cx="7118884" cy="27497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356410"/>
              <a:ext cx="7118884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8597" indent="-68597">
                <a:defRPr/>
              </a:pPr>
              <a:r>
                <a:rPr lang="en-US" sz="800" dirty="0">
                  <a:solidFill>
                    <a:srgbClr val="80808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3" y="6508272"/>
              <a:ext cx="7118884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236" indent="-377236" defTabSz="897016"/>
              <a:r>
                <a:rPr lang="en-US" sz="800" dirty="0">
                  <a:solidFill>
                    <a:srgbClr val="808080"/>
                  </a:solidFill>
                  <a:latin typeface="Calibri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482160" y="1991016"/>
            <a:ext cx="4389768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1280087"/>
            <a:ext cx="4350892" cy="521559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Calibri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1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7016"/>
            <a:endParaRPr lang="en-US" sz="800" dirty="0">
              <a:solidFill>
                <a:srgbClr val="808080"/>
              </a:solidFill>
              <a:latin typeface="Calibri"/>
            </a:endParaRPr>
          </a:p>
        </p:txBody>
      </p:sp>
      <p:grpSp>
        <p:nvGrpSpPr>
          <p:cNvPr id="104" name="McKSticker" hidden="1"/>
          <p:cNvGrpSpPr/>
          <p:nvPr/>
        </p:nvGrpSpPr>
        <p:grpSpPr bwMode="auto">
          <a:xfrm>
            <a:off x="8552905" y="285758"/>
            <a:ext cx="362728" cy="150811"/>
            <a:chOff x="8378046" y="285750"/>
            <a:chExt cx="362729" cy="150811"/>
          </a:xfrm>
        </p:grpSpPr>
        <p:sp>
          <p:nvSpPr>
            <p:cNvPr id="105" name="StickerRectangle"/>
            <p:cNvSpPr>
              <a:spLocks noChangeArrowheads="1"/>
            </p:cNvSpPr>
            <p:nvPr/>
          </p:nvSpPr>
          <p:spPr bwMode="auto">
            <a:xfrm>
              <a:off x="8378046" y="285750"/>
              <a:ext cx="36272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79174">
                <a:buClr>
                  <a:srgbClr val="002960"/>
                </a:buClr>
              </a:pPr>
              <a:r>
                <a:rPr lang="en-US" sz="800" dirty="0">
                  <a:solidFill>
                    <a:srgbClr val="808080"/>
                  </a:solidFill>
                  <a:latin typeface="Calibri"/>
                </a:rPr>
                <a:t>STICKER</a:t>
              </a:r>
            </a:p>
          </p:txBody>
        </p:sp>
        <p:cxnSp>
          <p:nvCxnSpPr>
            <p:cNvPr id="106" name="AutoShape 31"/>
            <p:cNvCxnSpPr>
              <a:cxnSpLocks noChangeShapeType="1"/>
              <a:stCxn id="105" idx="2"/>
              <a:endCxn id="105" idx="4"/>
            </p:cNvCxnSpPr>
            <p:nvPr/>
          </p:nvCxnSpPr>
          <p:spPr bwMode="auto">
            <a:xfrm>
              <a:off x="837804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7" name="AutoShape 32"/>
            <p:cNvCxnSpPr>
              <a:cxnSpLocks noChangeShapeType="1"/>
              <a:stCxn id="105" idx="4"/>
              <a:endCxn id="105" idx="6"/>
            </p:cNvCxnSpPr>
            <p:nvPr/>
          </p:nvCxnSpPr>
          <p:spPr bwMode="auto">
            <a:xfrm>
              <a:off x="8378046" y="436561"/>
              <a:ext cx="36272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8" name="LegendBoxes" hidden="1"/>
          <p:cNvGrpSpPr/>
          <p:nvPr/>
        </p:nvGrpSpPr>
        <p:grpSpPr bwMode="auto">
          <a:xfrm>
            <a:off x="8212453" y="279405"/>
            <a:ext cx="703161" cy="997467"/>
            <a:chOff x="7835905" y="279400"/>
            <a:chExt cx="703163" cy="997467"/>
          </a:xfrm>
        </p:grpSpPr>
        <p:sp>
          <p:nvSpPr>
            <p:cNvPr id="109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0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1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2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3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14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15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16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117" name="LegendLines" hidden="1"/>
          <p:cNvGrpSpPr/>
          <p:nvPr/>
        </p:nvGrpSpPr>
        <p:grpSpPr bwMode="auto">
          <a:xfrm>
            <a:off x="7904640" y="279577"/>
            <a:ext cx="1011136" cy="730766"/>
            <a:chOff x="7540629" y="279400"/>
            <a:chExt cx="1011137" cy="730767"/>
          </a:xfrm>
        </p:grpSpPr>
        <p:sp>
          <p:nvSpPr>
            <p:cNvPr id="118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9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0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1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2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3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124" name="LegendMoons" hidden="1"/>
          <p:cNvGrpSpPr/>
          <p:nvPr/>
        </p:nvGrpSpPr>
        <p:grpSpPr bwMode="auto">
          <a:xfrm>
            <a:off x="8145782" y="250828"/>
            <a:ext cx="769838" cy="1306516"/>
            <a:chOff x="7769225" y="250825"/>
            <a:chExt cx="769838" cy="1306516"/>
          </a:xfrm>
        </p:grpSpPr>
        <p:grpSp>
          <p:nvGrpSpPr>
            <p:cNvPr id="12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4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44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4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4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3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4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3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9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3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130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1" name="Legend2"/>
            <p:cNvSpPr>
              <a:spLocks noChangeArrowheads="1"/>
            </p:cNvSpPr>
            <p:nvPr/>
          </p:nvSpPr>
          <p:spPr bwMode="auto">
            <a:xfrm>
              <a:off x="8089901" y="538163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2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3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4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sp>
        <p:nvSpPr>
          <p:cNvPr id="145" name="Slide Number"/>
          <p:cNvSpPr txBox="1">
            <a:spLocks/>
          </p:cNvSpPr>
          <p:nvPr/>
        </p:nvSpPr>
        <p:spPr bwMode="auto">
          <a:xfrm>
            <a:off x="8742246" y="6624807"/>
            <a:ext cx="12182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GB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smtClean="0">
                <a:solidFill>
                  <a:srgbClr val="808080"/>
                </a:solidFill>
              </a:rPr>
              <a:pPr algn="r"/>
              <a:t>‹#›</a:t>
            </a:fld>
            <a:endParaRPr lang="en-US" sz="800" dirty="0">
              <a:solidFill>
                <a:srgbClr val="808080"/>
              </a:solidFill>
            </a:endParaRPr>
          </a:p>
        </p:txBody>
      </p:sp>
      <p:pic>
        <p:nvPicPr>
          <p:cNvPr id="59" name="Picture 4" descr="Image result for world health organisation logo png"/>
          <p:cNvPicPr>
            <a:picLocks noChangeAspect="1" noChangeArrowheads="1"/>
          </p:cNvPicPr>
          <p:nvPr/>
        </p:nvPicPr>
        <p:blipFill rotWithShape="1">
          <a:blip r:embed="rId2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91898" y="6462822"/>
            <a:ext cx="940642" cy="323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4470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</p:sldLayoutIdLst>
  <p:hf hdr="0" ftr="0" dt="0"/>
  <p:txStyles>
    <p:titleStyle>
      <a:lvl1pPr algn="l" defTabSz="897016" rtl="0" eaLnBrk="1" fontAlgn="base" hangingPunct="1">
        <a:spcBef>
          <a:spcPct val="0"/>
        </a:spcBef>
        <a:spcAft>
          <a:spcPct val="0"/>
        </a:spcAft>
        <a:tabLst>
          <a:tab pos="270383" algn="l"/>
        </a:tabLst>
        <a:defRPr sz="200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8000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6095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4154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32209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038" indent="-192451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8000" indent="-262431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5510" indent="-155866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GB"/>
      </a:defPPr>
      <a:lvl1pPr marL="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800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6095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4154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2209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90262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8317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637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64422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636465127"/>
              </p:ext>
            </p:ext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auto"/>
            <a:endParaRPr lang="en-US" sz="2000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21501" y="77307"/>
            <a:ext cx="3783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800" cap="all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21496" y="566160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>
                <a:solidFill>
                  <a:srgbClr val="808080"/>
                </a:solidFill>
                <a:latin typeface="Calibri"/>
              </a:rPr>
              <a:t>Subtitle</a:t>
            </a:r>
            <a:endParaRPr lang="en-US" sz="1600" dirty="0">
              <a:solidFill>
                <a:srgbClr val="808080"/>
              </a:solidFill>
              <a:latin typeface="Calibri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21501" y="6469825"/>
            <a:ext cx="72639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9850" indent="-698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808080"/>
                </a:solidFill>
                <a:latin typeface="Calibri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21501" y="6624771"/>
            <a:ext cx="72639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4175" indent="-384175" defTabSz="913526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808080"/>
                </a:solidFill>
                <a:latin typeface="Calibri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482156" y="1991016"/>
            <a:ext cx="4389768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291401"/>
            <a:ext cx="4350892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dirty="0">
                  <a:solidFill>
                    <a:srgbClr val="808080"/>
                  </a:solidFill>
                  <a:latin typeface="Calibri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auto">
              <a:spcBef>
                <a:spcPts val="0"/>
              </a:spcBef>
              <a:spcAft>
                <a:spcPts val="0"/>
              </a:spcAft>
            </a:pPr>
            <a:endParaRPr lang="en-US" sz="816" dirty="0">
              <a:solidFill>
                <a:srgbClr val="808080"/>
              </a:solidFill>
              <a:latin typeface="Calibri"/>
            </a:endParaRPr>
          </a:p>
        </p:txBody>
      </p:sp>
      <p:grpSp>
        <p:nvGrpSpPr>
          <p:cNvPr id="104" name="Sticker" hidden="1"/>
          <p:cNvGrpSpPr/>
          <p:nvPr/>
        </p:nvGrpSpPr>
        <p:grpSpPr bwMode="auto">
          <a:xfrm>
            <a:off x="8552944" y="285774"/>
            <a:ext cx="362728" cy="150811"/>
            <a:chOff x="8378047" y="285750"/>
            <a:chExt cx="362728" cy="150811"/>
          </a:xfrm>
        </p:grpSpPr>
        <p:sp>
          <p:nvSpPr>
            <p:cNvPr id="105" name="StickerRectangle"/>
            <p:cNvSpPr>
              <a:spLocks noChangeArrowheads="1"/>
            </p:cNvSpPr>
            <p:nvPr/>
          </p:nvSpPr>
          <p:spPr bwMode="auto">
            <a:xfrm>
              <a:off x="8378047" y="285750"/>
              <a:ext cx="36272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r>
                <a:rPr lang="en-US" sz="800" dirty="0">
                  <a:solidFill>
                    <a:srgbClr val="808080"/>
                  </a:solidFill>
                  <a:latin typeface="Calibri"/>
                </a:rPr>
                <a:t>STICKER</a:t>
              </a:r>
            </a:p>
          </p:txBody>
        </p:sp>
        <p:cxnSp>
          <p:nvCxnSpPr>
            <p:cNvPr id="106" name="AutoShape 31"/>
            <p:cNvCxnSpPr>
              <a:cxnSpLocks noChangeShapeType="1"/>
              <a:stCxn id="105" idx="2"/>
              <a:endCxn id="105" idx="4"/>
            </p:cNvCxnSpPr>
            <p:nvPr/>
          </p:nvCxnSpPr>
          <p:spPr bwMode="auto">
            <a:xfrm>
              <a:off x="837804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7" name="AutoShape 32"/>
            <p:cNvCxnSpPr>
              <a:cxnSpLocks noChangeShapeType="1"/>
              <a:stCxn id="105" idx="4"/>
              <a:endCxn id="105" idx="6"/>
            </p:cNvCxnSpPr>
            <p:nvPr/>
          </p:nvCxnSpPr>
          <p:spPr bwMode="auto">
            <a:xfrm>
              <a:off x="8378047" y="436561"/>
              <a:ext cx="36272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8" name="LegendBoxes" hidden="1"/>
          <p:cNvGrpSpPr/>
          <p:nvPr/>
        </p:nvGrpSpPr>
        <p:grpSpPr bwMode="auto">
          <a:xfrm>
            <a:off x="8212480" y="279405"/>
            <a:ext cx="703162" cy="997467"/>
            <a:chOff x="7835905" y="279400"/>
            <a:chExt cx="703162" cy="997467"/>
          </a:xfrm>
        </p:grpSpPr>
        <p:sp>
          <p:nvSpPr>
            <p:cNvPr id="109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0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1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2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3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14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15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16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117" name="LegendLines" hidden="1"/>
          <p:cNvGrpSpPr/>
          <p:nvPr/>
        </p:nvGrpSpPr>
        <p:grpSpPr bwMode="auto">
          <a:xfrm>
            <a:off x="7904493" y="279405"/>
            <a:ext cx="1011137" cy="730767"/>
            <a:chOff x="7540629" y="279400"/>
            <a:chExt cx="1011137" cy="730767"/>
          </a:xfrm>
        </p:grpSpPr>
        <p:sp>
          <p:nvSpPr>
            <p:cNvPr id="118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9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0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8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1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2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3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124" name="LegendMoons" hidden="1"/>
          <p:cNvGrpSpPr/>
          <p:nvPr/>
        </p:nvGrpSpPr>
        <p:grpSpPr bwMode="auto">
          <a:xfrm>
            <a:off x="8145805" y="250825"/>
            <a:ext cx="769837" cy="1306516"/>
            <a:chOff x="7769225" y="250825"/>
            <a:chExt cx="769837" cy="1306516"/>
          </a:xfrm>
        </p:grpSpPr>
        <p:grpSp>
          <p:nvGrpSpPr>
            <p:cNvPr id="125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43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44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6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41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42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7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39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40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8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37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8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9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35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6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130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1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2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3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4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sp>
        <p:nvSpPr>
          <p:cNvPr id="145" name="Slide Number"/>
          <p:cNvSpPr txBox="1">
            <a:spLocks/>
          </p:cNvSpPr>
          <p:nvPr/>
        </p:nvSpPr>
        <p:spPr bwMode="auto">
          <a:xfrm>
            <a:off x="8742246" y="6624807"/>
            <a:ext cx="12182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GB"/>
            </a:defPPr>
            <a:lvl1pPr>
              <a:defRPr sz="1000" baseline="0">
                <a:latin typeface="+mn-lt"/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800" smtClean="0">
                <a:solidFill>
                  <a:srgbClr val="808080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808080"/>
              </a:solidFill>
            </a:endParaRPr>
          </a:p>
        </p:txBody>
      </p:sp>
      <p:pic>
        <p:nvPicPr>
          <p:cNvPr id="59" name="Picture 4" descr="Image result for world health organisation logo png"/>
          <p:cNvPicPr>
            <a:picLocks noChangeAspect="1" noChangeArrowheads="1"/>
          </p:cNvPicPr>
          <p:nvPr/>
        </p:nvPicPr>
        <p:blipFill rotWithShape="1">
          <a:blip r:embed="rId26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91898" y="6462822"/>
            <a:ext cx="940642" cy="323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1836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5" r:id="rId1"/>
    <p:sldLayoutId id="2147484256" r:id="rId2"/>
    <p:sldLayoutId id="2147484257" r:id="rId3"/>
    <p:sldLayoutId id="2147484258" r:id="rId4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0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GB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2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665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GB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21493" y="77307"/>
            <a:ext cx="3783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21665" y="566142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auto">
          <a:xfrm>
            <a:off x="121668" y="6467309"/>
            <a:ext cx="7263909" cy="280557"/>
            <a:chOff x="119063" y="6356410"/>
            <a:chExt cx="7118884" cy="27497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356410"/>
              <a:ext cx="7118884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8597" indent="-68597">
                <a:defRPr/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3" y="6508272"/>
              <a:ext cx="7118884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236" indent="-377236" defTabSz="897016">
                <a:tabLst/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482160" y="1991016"/>
            <a:ext cx="4389768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GB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1280087"/>
            <a:ext cx="4350892" cy="521559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GB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1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7016"/>
            <a:endParaRPr lang="en-GB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104" name="McKSticker" hidden="1"/>
          <p:cNvGrpSpPr/>
          <p:nvPr/>
        </p:nvGrpSpPr>
        <p:grpSpPr bwMode="auto">
          <a:xfrm>
            <a:off x="8552905" y="285758"/>
            <a:ext cx="362728" cy="150811"/>
            <a:chOff x="8378046" y="285750"/>
            <a:chExt cx="362729" cy="150811"/>
          </a:xfrm>
        </p:grpSpPr>
        <p:sp>
          <p:nvSpPr>
            <p:cNvPr id="105" name="StickerRectangle"/>
            <p:cNvSpPr>
              <a:spLocks noChangeArrowheads="1"/>
            </p:cNvSpPr>
            <p:nvPr/>
          </p:nvSpPr>
          <p:spPr bwMode="auto">
            <a:xfrm>
              <a:off x="8378046" y="285750"/>
              <a:ext cx="36272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79174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106" name="AutoShape 31"/>
            <p:cNvCxnSpPr>
              <a:cxnSpLocks noChangeShapeType="1"/>
              <a:stCxn id="105" idx="2"/>
              <a:endCxn id="105" idx="4"/>
            </p:cNvCxnSpPr>
            <p:nvPr/>
          </p:nvCxnSpPr>
          <p:spPr bwMode="auto">
            <a:xfrm>
              <a:off x="837804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7" name="AutoShape 32"/>
            <p:cNvCxnSpPr>
              <a:cxnSpLocks noChangeShapeType="1"/>
              <a:stCxn id="105" idx="4"/>
              <a:endCxn id="105" idx="6"/>
            </p:cNvCxnSpPr>
            <p:nvPr/>
          </p:nvCxnSpPr>
          <p:spPr bwMode="auto">
            <a:xfrm>
              <a:off x="8378046" y="436561"/>
              <a:ext cx="36272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8" name="LegendBoxes" hidden="1"/>
          <p:cNvGrpSpPr/>
          <p:nvPr/>
        </p:nvGrpSpPr>
        <p:grpSpPr bwMode="auto">
          <a:xfrm>
            <a:off x="8212453" y="279405"/>
            <a:ext cx="703161" cy="997467"/>
            <a:chOff x="7835905" y="279400"/>
            <a:chExt cx="703163" cy="997467"/>
          </a:xfrm>
        </p:grpSpPr>
        <p:sp>
          <p:nvSpPr>
            <p:cNvPr id="109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0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1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2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3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4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5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7" name="LegendLines" hidden="1"/>
          <p:cNvGrpSpPr/>
          <p:nvPr/>
        </p:nvGrpSpPr>
        <p:grpSpPr bwMode="auto">
          <a:xfrm>
            <a:off x="7904640" y="279577"/>
            <a:ext cx="1011136" cy="730766"/>
            <a:chOff x="7540629" y="279400"/>
            <a:chExt cx="1011137" cy="730767"/>
          </a:xfrm>
        </p:grpSpPr>
        <p:sp>
          <p:nvSpPr>
            <p:cNvPr id="118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9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20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21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3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24" name="LegendMoons" hidden="1"/>
          <p:cNvGrpSpPr/>
          <p:nvPr/>
        </p:nvGrpSpPr>
        <p:grpSpPr bwMode="auto">
          <a:xfrm>
            <a:off x="8145782" y="250828"/>
            <a:ext cx="769838" cy="1306516"/>
            <a:chOff x="7769225" y="250825"/>
            <a:chExt cx="769838" cy="1306516"/>
          </a:xfrm>
        </p:grpSpPr>
        <p:grpSp>
          <p:nvGrpSpPr>
            <p:cNvPr id="12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4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44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2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4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4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2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3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4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2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3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29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3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30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31" name="Legend2"/>
            <p:cNvSpPr>
              <a:spLocks noChangeArrowheads="1"/>
            </p:cNvSpPr>
            <p:nvPr/>
          </p:nvSpPr>
          <p:spPr bwMode="auto">
            <a:xfrm>
              <a:off x="8089901" y="538163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32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33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34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45" name="Slide Number"/>
          <p:cNvSpPr txBox="1">
            <a:spLocks/>
          </p:cNvSpPr>
          <p:nvPr/>
        </p:nvSpPr>
        <p:spPr bwMode="auto">
          <a:xfrm>
            <a:off x="8742246" y="6624807"/>
            <a:ext cx="12182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GB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800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GB" sz="800" baseline="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59" name="Picture 4" descr="Image result for world health organisation logo png"/>
          <p:cNvPicPr>
            <a:picLocks noChangeAspect="1" noChangeArrowheads="1"/>
          </p:cNvPicPr>
          <p:nvPr/>
        </p:nvPicPr>
        <p:blipFill rotWithShape="1">
          <a:blip r:embed="rId2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91898" y="6462822"/>
            <a:ext cx="940642" cy="323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9084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3" r:id="rId1"/>
    <p:sldLayoutId id="2147484374" r:id="rId2"/>
    <p:sldLayoutId id="2147484375" r:id="rId3"/>
  </p:sldLayoutIdLst>
  <p:hf hdr="0" ftr="0" dt="0"/>
  <p:txStyles>
    <p:titleStyle>
      <a:lvl1pPr algn="l" defTabSz="897016" rtl="0" eaLnBrk="1" fontAlgn="base" hangingPunct="1">
        <a:spcBef>
          <a:spcPct val="0"/>
        </a:spcBef>
        <a:spcAft>
          <a:spcPct val="0"/>
        </a:spcAft>
        <a:tabLst>
          <a:tab pos="270383" algn="l"/>
        </a:tabLst>
        <a:defRPr sz="200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8000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6095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4154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32209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038" indent="-192451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8000" indent="-262431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5510" indent="-155866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GB"/>
      </a:defPPr>
      <a:lvl1pPr marL="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800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6095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4154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2209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90262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8317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637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64422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1538" y="2080800"/>
            <a:ext cx="7982031" cy="378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81538" y="622801"/>
            <a:ext cx="7982031" cy="30675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7674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9" r:id="rId1"/>
    <p:sldLayoutId id="2147484380" r:id="rId2"/>
    <p:sldLayoutId id="2147484381" r:id="rId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844083" rtl="0" eaLnBrk="1" latinLnBrk="0" hangingPunct="1">
        <a:lnSpc>
          <a:spcPct val="90000"/>
        </a:lnSpc>
        <a:spcBef>
          <a:spcPct val="0"/>
        </a:spcBef>
        <a:buNone/>
        <a:defRPr sz="2215" kern="1200">
          <a:solidFill>
            <a:schemeClr val="accent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844083" rtl="0" eaLnBrk="1" latinLnBrk="0" hangingPunct="1">
        <a:lnSpc>
          <a:spcPct val="110000"/>
        </a:lnSpc>
        <a:spcBef>
          <a:spcPts val="554"/>
        </a:spcBef>
        <a:spcAft>
          <a:spcPts val="277"/>
        </a:spcAft>
        <a:buFont typeface="Arial" panose="020B0604020202020204" pitchFamily="34" charset="0"/>
        <a:buChar char="​"/>
        <a:defRPr lang="en-US" sz="1108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62530" indent="-159512" algn="l" defTabSz="844083" rtl="0" eaLnBrk="1" latinLnBrk="0" hangingPunct="1">
        <a:lnSpc>
          <a:spcPct val="90000"/>
        </a:lnSpc>
        <a:spcBef>
          <a:spcPts val="0"/>
        </a:spcBef>
        <a:spcAft>
          <a:spcPts val="277"/>
        </a:spcAft>
        <a:buClr>
          <a:schemeClr val="tx2"/>
        </a:buClr>
        <a:buFont typeface="Arial" panose="020B0604020202020204" pitchFamily="34" charset="0"/>
        <a:buChar char="•"/>
        <a:defRPr lang="en-US" sz="1108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471889" indent="-152865" algn="l" defTabSz="844083" rtl="0" eaLnBrk="1" latinLnBrk="0" hangingPunct="1">
        <a:lnSpc>
          <a:spcPct val="90000"/>
        </a:lnSpc>
        <a:spcBef>
          <a:spcPts val="0"/>
        </a:spcBef>
        <a:spcAft>
          <a:spcPts val="277"/>
        </a:spcAft>
        <a:buClr>
          <a:schemeClr val="tx2"/>
        </a:buClr>
        <a:buFont typeface="Trebuchet MS" panose="020B0603020202020204" pitchFamily="34" charset="0"/>
        <a:buChar char="–"/>
        <a:defRPr lang="en-US" sz="1108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844083" rtl="0" eaLnBrk="1" latinLnBrk="0" hangingPunct="1">
        <a:lnSpc>
          <a:spcPct val="110000"/>
        </a:lnSpc>
        <a:spcBef>
          <a:spcPts val="277"/>
        </a:spcBef>
        <a:spcAft>
          <a:spcPts val="277"/>
        </a:spcAft>
        <a:buClr>
          <a:schemeClr val="tx2"/>
        </a:buClr>
        <a:buFont typeface="Arial" panose="020B0604020202020204" pitchFamily="34" charset="0"/>
        <a:buChar char="​"/>
        <a:defRPr lang="en-US" sz="1477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277"/>
        </a:spcAft>
        <a:buClrTx/>
        <a:buFont typeface="Arial" panose="020B0604020202020204" pitchFamily="34" charset="0"/>
        <a:buChar char="​"/>
        <a:defRPr lang="en-US" sz="1477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49122" indent="-140680" algn="l" defTabSz="844083" rtl="0" eaLnBrk="1" latinLnBrk="0" hangingPunct="1">
        <a:lnSpc>
          <a:spcPct val="9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•"/>
        <a:defRPr lang="en-US" sz="1477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844083" rtl="0" eaLnBrk="1" latinLnBrk="0" hangingPunct="1">
        <a:lnSpc>
          <a:spcPct val="90000"/>
        </a:lnSpc>
        <a:spcBef>
          <a:spcPts val="831"/>
        </a:spcBef>
        <a:spcAft>
          <a:spcPts val="831"/>
        </a:spcAft>
        <a:buFont typeface="Arial" panose="020B0604020202020204" pitchFamily="34" charset="0"/>
        <a:buChar char="​"/>
        <a:defRPr lang="en-US" sz="4062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844083" rtl="0" eaLnBrk="1" latinLnBrk="0" hangingPunct="1">
        <a:lnSpc>
          <a:spcPct val="90000"/>
        </a:lnSpc>
        <a:spcBef>
          <a:spcPts val="831"/>
        </a:spcBef>
        <a:spcAft>
          <a:spcPts val="0"/>
        </a:spcAft>
        <a:buFont typeface="Arial" panose="020B0604020202020204" pitchFamily="34" charset="0"/>
        <a:buChar char="​"/>
        <a:defRPr lang="en-US" sz="4985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831"/>
        </a:spcAft>
        <a:buFont typeface="Arial" panose="020B0604020202020204" pitchFamily="34" charset="0"/>
        <a:buChar char="​"/>
        <a:defRPr lang="en-US" sz="2215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0">
          <p15:clr>
            <a:srgbClr val="F26B43"/>
          </p15:clr>
        </p15:guide>
        <p15:guide id="2" pos="395">
          <p15:clr>
            <a:srgbClr val="F26B43"/>
          </p15:clr>
        </p15:guide>
        <p15:guide id="3" pos="5845">
          <p15:clr>
            <a:srgbClr val="F26B43"/>
          </p15:clr>
        </p15:guide>
        <p15:guide id="4" orient="horz" pos="387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9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2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665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GB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21493" y="77307"/>
            <a:ext cx="3783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800" cap="all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21665" y="566142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auto">
          <a:xfrm>
            <a:off x="121668" y="6467309"/>
            <a:ext cx="7263909" cy="280557"/>
            <a:chOff x="119063" y="6356410"/>
            <a:chExt cx="7118884" cy="27497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356410"/>
              <a:ext cx="7118884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8597" indent="-68597">
                <a:defRPr/>
              </a:pPr>
              <a:r>
                <a:rPr lang="en-GB" sz="800" dirty="0">
                  <a:solidFill>
                    <a:srgbClr val="80808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3" y="6508272"/>
              <a:ext cx="7118884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236" indent="-377236" defTabSz="897016"/>
              <a:r>
                <a:rPr lang="en-GB" sz="800" dirty="0">
                  <a:solidFill>
                    <a:srgbClr val="808080"/>
                  </a:solidFill>
                  <a:latin typeface="Calibri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482160" y="1991016"/>
            <a:ext cx="4389768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GB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1280087"/>
            <a:ext cx="4350892" cy="521559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600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r>
                <a:rPr lang="en-GB" sz="1600" dirty="0">
                  <a:solidFill>
                    <a:srgbClr val="808080"/>
                  </a:solidFill>
                  <a:latin typeface="Calibri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1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7016"/>
            <a:endParaRPr lang="en-GB" sz="800" dirty="0">
              <a:solidFill>
                <a:srgbClr val="808080"/>
              </a:solidFill>
              <a:latin typeface="Calibri"/>
            </a:endParaRPr>
          </a:p>
        </p:txBody>
      </p:sp>
      <p:grpSp>
        <p:nvGrpSpPr>
          <p:cNvPr id="104" name="McKSticker" hidden="1"/>
          <p:cNvGrpSpPr/>
          <p:nvPr/>
        </p:nvGrpSpPr>
        <p:grpSpPr bwMode="auto">
          <a:xfrm>
            <a:off x="8552905" y="285758"/>
            <a:ext cx="362728" cy="150811"/>
            <a:chOff x="8378046" y="285750"/>
            <a:chExt cx="362729" cy="150811"/>
          </a:xfrm>
        </p:grpSpPr>
        <p:sp>
          <p:nvSpPr>
            <p:cNvPr id="105" name="StickerRectangle"/>
            <p:cNvSpPr>
              <a:spLocks noChangeArrowheads="1"/>
            </p:cNvSpPr>
            <p:nvPr/>
          </p:nvSpPr>
          <p:spPr bwMode="auto">
            <a:xfrm>
              <a:off x="8378046" y="285750"/>
              <a:ext cx="36272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79174">
                <a:buClr>
                  <a:srgbClr val="002960"/>
                </a:buClr>
              </a:pPr>
              <a:r>
                <a:rPr lang="en-GB" sz="800" dirty="0">
                  <a:solidFill>
                    <a:srgbClr val="808080"/>
                  </a:solidFill>
                  <a:latin typeface="Calibri"/>
                </a:rPr>
                <a:t>STICKER</a:t>
              </a:r>
            </a:p>
          </p:txBody>
        </p:sp>
        <p:cxnSp>
          <p:nvCxnSpPr>
            <p:cNvPr id="106" name="AutoShape 31"/>
            <p:cNvCxnSpPr>
              <a:cxnSpLocks noChangeShapeType="1"/>
              <a:stCxn id="105" idx="2"/>
              <a:endCxn id="105" idx="4"/>
            </p:cNvCxnSpPr>
            <p:nvPr/>
          </p:nvCxnSpPr>
          <p:spPr bwMode="auto">
            <a:xfrm>
              <a:off x="837804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7" name="AutoShape 32"/>
            <p:cNvCxnSpPr>
              <a:cxnSpLocks noChangeShapeType="1"/>
              <a:stCxn id="105" idx="4"/>
              <a:endCxn id="105" idx="6"/>
            </p:cNvCxnSpPr>
            <p:nvPr/>
          </p:nvCxnSpPr>
          <p:spPr bwMode="auto">
            <a:xfrm>
              <a:off x="8378046" y="436561"/>
              <a:ext cx="36272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8" name="LegendBoxes" hidden="1"/>
          <p:cNvGrpSpPr/>
          <p:nvPr/>
        </p:nvGrpSpPr>
        <p:grpSpPr bwMode="auto">
          <a:xfrm>
            <a:off x="8212453" y="279405"/>
            <a:ext cx="703161" cy="997467"/>
            <a:chOff x="7835905" y="279400"/>
            <a:chExt cx="703163" cy="997467"/>
          </a:xfrm>
        </p:grpSpPr>
        <p:sp>
          <p:nvSpPr>
            <p:cNvPr id="109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0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1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2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3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14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15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16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117" name="LegendLines" hidden="1"/>
          <p:cNvGrpSpPr/>
          <p:nvPr/>
        </p:nvGrpSpPr>
        <p:grpSpPr bwMode="auto">
          <a:xfrm>
            <a:off x="7904640" y="279577"/>
            <a:ext cx="1011136" cy="730766"/>
            <a:chOff x="7540629" y="279400"/>
            <a:chExt cx="1011137" cy="730767"/>
          </a:xfrm>
        </p:grpSpPr>
        <p:sp>
          <p:nvSpPr>
            <p:cNvPr id="118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9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0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1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2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3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124" name="LegendMoons" hidden="1"/>
          <p:cNvGrpSpPr/>
          <p:nvPr/>
        </p:nvGrpSpPr>
        <p:grpSpPr bwMode="auto">
          <a:xfrm>
            <a:off x="8145782" y="250828"/>
            <a:ext cx="769838" cy="1306516"/>
            <a:chOff x="7769225" y="250825"/>
            <a:chExt cx="769838" cy="1306516"/>
          </a:xfrm>
        </p:grpSpPr>
        <p:grpSp>
          <p:nvGrpSpPr>
            <p:cNvPr id="12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4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44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4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4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3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4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3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9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3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130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1" name="Legend2"/>
            <p:cNvSpPr>
              <a:spLocks noChangeArrowheads="1"/>
            </p:cNvSpPr>
            <p:nvPr/>
          </p:nvSpPr>
          <p:spPr bwMode="auto">
            <a:xfrm>
              <a:off x="8089901" y="538163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2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3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4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rgbClr val="000000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sp>
        <p:nvSpPr>
          <p:cNvPr id="145" name="Slide Number"/>
          <p:cNvSpPr txBox="1">
            <a:spLocks/>
          </p:cNvSpPr>
          <p:nvPr/>
        </p:nvSpPr>
        <p:spPr bwMode="auto">
          <a:xfrm>
            <a:off x="8742246" y="6624807"/>
            <a:ext cx="12182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GB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800" smtClean="0">
                <a:solidFill>
                  <a:srgbClr val="808080"/>
                </a:solidFill>
              </a:rPr>
              <a:pPr algn="r"/>
              <a:t>‹#›</a:t>
            </a:fld>
            <a:endParaRPr lang="en-GB" sz="800" dirty="0">
              <a:solidFill>
                <a:srgbClr val="808080"/>
              </a:solidFill>
            </a:endParaRPr>
          </a:p>
        </p:txBody>
      </p:sp>
      <p:pic>
        <p:nvPicPr>
          <p:cNvPr id="59" name="Picture 4" descr="Image result for world health organisation logo png"/>
          <p:cNvPicPr>
            <a:picLocks noChangeAspect="1" noChangeArrowheads="1"/>
          </p:cNvPicPr>
          <p:nvPr/>
        </p:nvPicPr>
        <p:blipFill rotWithShape="1">
          <a:blip r:embed="rId2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91898" y="6462822"/>
            <a:ext cx="940642" cy="323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6839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4" r:id="rId1"/>
    <p:sldLayoutId id="2147484385" r:id="rId2"/>
    <p:sldLayoutId id="2147484386" r:id="rId3"/>
  </p:sldLayoutIdLst>
  <p:txStyles>
    <p:titleStyle>
      <a:lvl1pPr algn="l" defTabSz="897016" rtl="0" eaLnBrk="1" fontAlgn="base" hangingPunct="1">
        <a:spcBef>
          <a:spcPct val="0"/>
        </a:spcBef>
        <a:spcAft>
          <a:spcPct val="0"/>
        </a:spcAft>
        <a:tabLst>
          <a:tab pos="270383" algn="l"/>
        </a:tabLst>
        <a:defRPr sz="200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8000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6095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4154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32209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038" indent="-192451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8000" indent="-262431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5510" indent="-155866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GB"/>
      </a:defPPr>
      <a:lvl1pPr marL="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800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6095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4154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2209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90262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8317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637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64422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21493" y="77303"/>
            <a:ext cx="3783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21489" y="566144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121493" y="6469809"/>
            <a:ext cx="72639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9850" indent="-69850">
              <a:defRPr/>
            </a:pPr>
            <a:r>
              <a:rPr lang="en-US" sz="800" dirty="0">
                <a:solidFill>
                  <a:srgbClr val="808080"/>
                </a:solidFill>
                <a:latin typeface="Calibri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121493" y="6624755"/>
            <a:ext cx="72639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4175" indent="-384175" defTabSz="913526"/>
            <a:r>
              <a:rPr lang="en-US" sz="800" dirty="0">
                <a:solidFill>
                  <a:srgbClr val="808080"/>
                </a:solidFill>
                <a:latin typeface="Calibri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482156" y="1991016"/>
            <a:ext cx="4389768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291401"/>
            <a:ext cx="4350892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Calibri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dirty="0">
              <a:solidFill>
                <a:srgbClr val="808080"/>
              </a:solidFill>
              <a:latin typeface="Calibri"/>
            </a:endParaRPr>
          </a:p>
        </p:txBody>
      </p:sp>
      <p:grpSp>
        <p:nvGrpSpPr>
          <p:cNvPr id="104" name="Sticker" hidden="1"/>
          <p:cNvGrpSpPr/>
          <p:nvPr/>
        </p:nvGrpSpPr>
        <p:grpSpPr bwMode="auto">
          <a:xfrm>
            <a:off x="8552896" y="285758"/>
            <a:ext cx="362728" cy="150811"/>
            <a:chOff x="8378047" y="285750"/>
            <a:chExt cx="362728" cy="150811"/>
          </a:xfrm>
        </p:grpSpPr>
        <p:sp>
          <p:nvSpPr>
            <p:cNvPr id="105" name="StickerRectangle"/>
            <p:cNvSpPr>
              <a:spLocks noChangeArrowheads="1"/>
            </p:cNvSpPr>
            <p:nvPr/>
          </p:nvSpPr>
          <p:spPr bwMode="auto">
            <a:xfrm>
              <a:off x="8378047" y="285750"/>
              <a:ext cx="362728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dirty="0">
                  <a:solidFill>
                    <a:srgbClr val="808080"/>
                  </a:solidFill>
                  <a:latin typeface="Calibri"/>
                </a:rPr>
                <a:t>STICKER</a:t>
              </a:r>
            </a:p>
          </p:txBody>
        </p:sp>
        <p:cxnSp>
          <p:nvCxnSpPr>
            <p:cNvPr id="106" name="AutoShape 31"/>
            <p:cNvCxnSpPr>
              <a:cxnSpLocks noChangeShapeType="1"/>
              <a:stCxn id="105" idx="2"/>
              <a:endCxn id="105" idx="4"/>
            </p:cNvCxnSpPr>
            <p:nvPr/>
          </p:nvCxnSpPr>
          <p:spPr bwMode="auto">
            <a:xfrm>
              <a:off x="8378047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7" name="AutoShape 32"/>
            <p:cNvCxnSpPr>
              <a:cxnSpLocks noChangeShapeType="1"/>
              <a:stCxn id="105" idx="4"/>
              <a:endCxn id="105" idx="6"/>
            </p:cNvCxnSpPr>
            <p:nvPr/>
          </p:nvCxnSpPr>
          <p:spPr bwMode="auto">
            <a:xfrm>
              <a:off x="8378047" y="436561"/>
              <a:ext cx="36272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8" name="LegendBoxes" hidden="1"/>
          <p:cNvGrpSpPr/>
          <p:nvPr/>
        </p:nvGrpSpPr>
        <p:grpSpPr bwMode="auto">
          <a:xfrm>
            <a:off x="8212453" y="279405"/>
            <a:ext cx="703162" cy="997467"/>
            <a:chOff x="7835905" y="279400"/>
            <a:chExt cx="703162" cy="997467"/>
          </a:xfrm>
        </p:grpSpPr>
        <p:sp>
          <p:nvSpPr>
            <p:cNvPr id="109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0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1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2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3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14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15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16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117" name="LegendLines" hidden="1"/>
          <p:cNvGrpSpPr/>
          <p:nvPr/>
        </p:nvGrpSpPr>
        <p:grpSpPr bwMode="auto">
          <a:xfrm>
            <a:off x="7904475" y="279400"/>
            <a:ext cx="1011137" cy="730767"/>
            <a:chOff x="7540629" y="279400"/>
            <a:chExt cx="1011137" cy="730767"/>
          </a:xfrm>
        </p:grpSpPr>
        <p:sp>
          <p:nvSpPr>
            <p:cNvPr id="118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19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0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21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2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3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124" name="LegendMoons" hidden="1"/>
          <p:cNvGrpSpPr/>
          <p:nvPr/>
        </p:nvGrpSpPr>
        <p:grpSpPr bwMode="auto">
          <a:xfrm>
            <a:off x="8145778" y="250825"/>
            <a:ext cx="769837" cy="1306516"/>
            <a:chOff x="7769225" y="250825"/>
            <a:chExt cx="769837" cy="1306516"/>
          </a:xfrm>
        </p:grpSpPr>
        <p:grpSp>
          <p:nvGrpSpPr>
            <p:cNvPr id="125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43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44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6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41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42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7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39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40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8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37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8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9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35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6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130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1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2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3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34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sp>
        <p:nvSpPr>
          <p:cNvPr id="145" name="Slide Number"/>
          <p:cNvSpPr txBox="1">
            <a:spLocks/>
          </p:cNvSpPr>
          <p:nvPr/>
        </p:nvSpPr>
        <p:spPr bwMode="auto">
          <a:xfrm>
            <a:off x="8742246" y="6624791"/>
            <a:ext cx="12182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GB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smtClean="0">
                <a:solidFill>
                  <a:srgbClr val="808080"/>
                </a:solidFill>
              </a:rPr>
              <a:pPr algn="r"/>
              <a:t>‹#›</a:t>
            </a:fld>
            <a:endParaRPr lang="en-US" sz="800" dirty="0">
              <a:solidFill>
                <a:srgbClr val="808080"/>
              </a:solidFill>
            </a:endParaRPr>
          </a:p>
        </p:txBody>
      </p:sp>
      <p:pic>
        <p:nvPicPr>
          <p:cNvPr id="59" name="Picture 4" descr="Image result for world health organisation logo png"/>
          <p:cNvPicPr>
            <a:picLocks noChangeAspect="1" noChangeArrowheads="1"/>
          </p:cNvPicPr>
          <p:nvPr/>
        </p:nvPicPr>
        <p:blipFill rotWithShape="1">
          <a:blip r:embed="rId26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91898" y="6462822"/>
            <a:ext cx="940642" cy="323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51899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8" r:id="rId1"/>
    <p:sldLayoutId id="2147484389" r:id="rId2"/>
    <p:sldLayoutId id="2147484390" r:id="rId3"/>
    <p:sldLayoutId id="2147484391" r:id="rId4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0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GB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2"/>
            </p:custDataLst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5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3"/>
            </p:custDataLst>
          </p:nvPr>
        </p:nvSpPr>
        <p:spPr bwMode="auto">
          <a:xfrm>
            <a:off x="2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665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GB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21493" y="77307"/>
            <a:ext cx="3783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21665" y="566142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auto">
          <a:xfrm>
            <a:off x="121668" y="6467309"/>
            <a:ext cx="7263909" cy="280557"/>
            <a:chOff x="119063" y="6356410"/>
            <a:chExt cx="7118884" cy="274973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356410"/>
              <a:ext cx="7118884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68597" indent="-68597">
                <a:defRPr/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3" y="6508272"/>
              <a:ext cx="7118884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77236" indent="-377236" defTabSz="897016">
                <a:tabLst/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482160" y="1991016"/>
            <a:ext cx="4389768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GB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1280087"/>
            <a:ext cx="4350892" cy="521559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GB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1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7016"/>
            <a:endParaRPr lang="en-GB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104" name="McKSticker" hidden="1"/>
          <p:cNvGrpSpPr/>
          <p:nvPr/>
        </p:nvGrpSpPr>
        <p:grpSpPr bwMode="auto">
          <a:xfrm>
            <a:off x="8552905" y="285758"/>
            <a:ext cx="362728" cy="150811"/>
            <a:chOff x="8378046" y="285750"/>
            <a:chExt cx="362729" cy="150811"/>
          </a:xfrm>
        </p:grpSpPr>
        <p:sp>
          <p:nvSpPr>
            <p:cNvPr id="105" name="StickerRectangle"/>
            <p:cNvSpPr>
              <a:spLocks noChangeArrowheads="1"/>
            </p:cNvSpPr>
            <p:nvPr/>
          </p:nvSpPr>
          <p:spPr bwMode="auto">
            <a:xfrm>
              <a:off x="8378046" y="285750"/>
              <a:ext cx="362729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79174">
                <a:buClr>
                  <a:srgbClr val="002960"/>
                </a:buClr>
              </a:pPr>
              <a:r>
                <a:rPr lang="en-GB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106" name="AutoShape 31"/>
            <p:cNvCxnSpPr>
              <a:cxnSpLocks noChangeShapeType="1"/>
              <a:stCxn id="105" idx="2"/>
              <a:endCxn id="105" idx="4"/>
            </p:cNvCxnSpPr>
            <p:nvPr/>
          </p:nvCxnSpPr>
          <p:spPr bwMode="auto">
            <a:xfrm>
              <a:off x="837804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7" name="AutoShape 32"/>
            <p:cNvCxnSpPr>
              <a:cxnSpLocks noChangeShapeType="1"/>
              <a:stCxn id="105" idx="4"/>
              <a:endCxn id="105" idx="6"/>
            </p:cNvCxnSpPr>
            <p:nvPr/>
          </p:nvCxnSpPr>
          <p:spPr bwMode="auto">
            <a:xfrm>
              <a:off x="8378046" y="436561"/>
              <a:ext cx="36272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8" name="LegendBoxes" hidden="1"/>
          <p:cNvGrpSpPr/>
          <p:nvPr/>
        </p:nvGrpSpPr>
        <p:grpSpPr bwMode="auto">
          <a:xfrm>
            <a:off x="8212453" y="279405"/>
            <a:ext cx="703161" cy="997467"/>
            <a:chOff x="7835905" y="279400"/>
            <a:chExt cx="703163" cy="997467"/>
          </a:xfrm>
        </p:grpSpPr>
        <p:sp>
          <p:nvSpPr>
            <p:cNvPr id="109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0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1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2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3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4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5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6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449163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7" name="LegendLines" hidden="1"/>
          <p:cNvGrpSpPr/>
          <p:nvPr/>
        </p:nvGrpSpPr>
        <p:grpSpPr bwMode="auto">
          <a:xfrm>
            <a:off x="7904640" y="279577"/>
            <a:ext cx="1011136" cy="730766"/>
            <a:chOff x="7540629" y="279400"/>
            <a:chExt cx="1011137" cy="730767"/>
          </a:xfrm>
        </p:grpSpPr>
        <p:sp>
          <p:nvSpPr>
            <p:cNvPr id="118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19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20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baseline="0" dirty="0">
                <a:latin typeface="+mn-lt"/>
                <a:ea typeface="+mn-ea"/>
              </a:endParaRPr>
            </a:p>
          </p:txBody>
        </p:sp>
        <p:sp>
          <p:nvSpPr>
            <p:cNvPr id="121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3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24" name="LegendMoons" hidden="1"/>
          <p:cNvGrpSpPr/>
          <p:nvPr/>
        </p:nvGrpSpPr>
        <p:grpSpPr bwMode="auto">
          <a:xfrm>
            <a:off x="8145782" y="250828"/>
            <a:ext cx="769838" cy="1306516"/>
            <a:chOff x="7769225" y="250825"/>
            <a:chExt cx="769838" cy="1306516"/>
          </a:xfrm>
        </p:grpSpPr>
        <p:grpSp>
          <p:nvGrpSpPr>
            <p:cNvPr id="125" name="MoonLegend1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43" name="Oval 38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44" name="Arc 39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26" name="MoonLegend2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141" name="Oval 4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42" name="Arc 42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27" name="MoonLegend4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139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40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28" name="MoonLegend5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137" name="Oval 50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8" name="Oval 5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29" name="MoonLegend3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135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6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30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31" name="Legend2"/>
            <p:cNvSpPr>
              <a:spLocks noChangeArrowheads="1"/>
            </p:cNvSpPr>
            <p:nvPr/>
          </p:nvSpPr>
          <p:spPr bwMode="auto">
            <a:xfrm>
              <a:off x="8089901" y="538163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32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33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34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9174">
                <a:buClr>
                  <a:schemeClr val="tx2"/>
                </a:buClr>
              </a:pPr>
              <a:r>
                <a:rPr lang="en-GB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145" name="Slide Number"/>
          <p:cNvSpPr txBox="1">
            <a:spLocks/>
          </p:cNvSpPr>
          <p:nvPr/>
        </p:nvSpPr>
        <p:spPr bwMode="auto">
          <a:xfrm>
            <a:off x="8742246" y="6624807"/>
            <a:ext cx="121828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GB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800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GB" sz="800" baseline="0" dirty="0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59" name="Picture 4" descr="Image result for world health organisation logo png"/>
          <p:cNvPicPr>
            <a:picLocks noChangeAspect="1" noChangeArrowheads="1"/>
          </p:cNvPicPr>
          <p:nvPr/>
        </p:nvPicPr>
        <p:blipFill rotWithShape="1">
          <a:blip r:embed="rId41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91898" y="6462822"/>
            <a:ext cx="940642" cy="323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8332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6" r:id="rId1"/>
    <p:sldLayoutId id="2147484427" r:id="rId2"/>
    <p:sldLayoutId id="2147484428" r:id="rId3"/>
    <p:sldLayoutId id="2147484429" r:id="rId4"/>
    <p:sldLayoutId id="2147484430" r:id="rId5"/>
    <p:sldLayoutId id="2147484431" r:id="rId6"/>
    <p:sldLayoutId id="2147484432" r:id="rId7"/>
    <p:sldLayoutId id="2147484433" r:id="rId8"/>
    <p:sldLayoutId id="2147484434" r:id="rId9"/>
    <p:sldLayoutId id="2147484435" r:id="rId10"/>
    <p:sldLayoutId id="2147484436" r:id="rId11"/>
    <p:sldLayoutId id="2147484437" r:id="rId12"/>
    <p:sldLayoutId id="2147484438" r:id="rId13"/>
    <p:sldLayoutId id="2147484439" r:id="rId14"/>
    <p:sldLayoutId id="2147484440" r:id="rId15"/>
    <p:sldLayoutId id="2147484441" r:id="rId16"/>
    <p:sldLayoutId id="2147484442" r:id="rId17"/>
    <p:sldLayoutId id="2147484443" r:id="rId18"/>
    <p:sldLayoutId id="2147484444" r:id="rId19"/>
  </p:sldLayoutIdLst>
  <p:hf hdr="0" ftr="0" dt="0"/>
  <p:txStyles>
    <p:titleStyle>
      <a:lvl1pPr algn="l" defTabSz="897016" rtl="0" eaLnBrk="1" fontAlgn="base" hangingPunct="1">
        <a:spcBef>
          <a:spcPct val="0"/>
        </a:spcBef>
        <a:spcAft>
          <a:spcPct val="0"/>
        </a:spcAft>
        <a:tabLst>
          <a:tab pos="270383" algn="l"/>
        </a:tabLst>
        <a:defRPr sz="200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8000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6095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4154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32209" algn="l" defTabSz="89701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4038" indent="-192451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8000" indent="-262431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5510" indent="-155866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51209" indent="-130419" algn="l" defTabSz="8970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GB"/>
      </a:defPPr>
      <a:lvl1pPr marL="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800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6095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4154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2209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90262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8317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6370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64422" algn="l" defTabSz="9160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wmf"/><Relationship Id="rId4" Type="http://schemas.openxmlformats.org/officeDocument/2006/relationships/image" Target="../media/image21.png"/><Relationship Id="rId5" Type="http://schemas.openxmlformats.org/officeDocument/2006/relationships/image" Target="../media/image22.jpeg"/><Relationship Id="rId6" Type="http://schemas.openxmlformats.org/officeDocument/2006/relationships/image" Target="../media/image23.png"/><Relationship Id="rId7" Type="http://schemas.openxmlformats.org/officeDocument/2006/relationships/image" Target="../media/image24.png"/><Relationship Id="rId8" Type="http://schemas.openxmlformats.org/officeDocument/2006/relationships/image" Target="../media/image25.jpeg"/><Relationship Id="rId9" Type="http://schemas.openxmlformats.org/officeDocument/2006/relationships/image" Target="http://downloads.unmultimedia.org/photo/medium/397/397932.jpg" TargetMode="External"/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11" Type="http://schemas.openxmlformats.org/officeDocument/2006/relationships/diagramQuickStyle" Target="../diagrams/quickStyle2.xml"/><Relationship Id="rId12" Type="http://schemas.openxmlformats.org/officeDocument/2006/relationships/diagramColors" Target="../diagrams/colors2.xml"/><Relationship Id="rId13" Type="http://schemas.microsoft.com/office/2007/relationships/diagramDrawing" Target="../diagrams/drawing2.xml"/><Relationship Id="rId1" Type="http://schemas.openxmlformats.org/officeDocument/2006/relationships/slideLayout" Target="../slideLayouts/slideLayout19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26.png"/><Relationship Id="rId4" Type="http://schemas.openxmlformats.org/officeDocument/2006/relationships/diagramData" Target="../diagrams/data1.xml"/><Relationship Id="rId5" Type="http://schemas.openxmlformats.org/officeDocument/2006/relationships/diagramLayout" Target="../diagrams/layout1.xml"/><Relationship Id="rId6" Type="http://schemas.openxmlformats.org/officeDocument/2006/relationships/diagramQuickStyle" Target="../diagrams/quickStyle1.xml"/><Relationship Id="rId7" Type="http://schemas.openxmlformats.org/officeDocument/2006/relationships/diagramColors" Target="../diagrams/colors1.xml"/><Relationship Id="rId8" Type="http://schemas.microsoft.com/office/2007/relationships/diagramDrawing" Target="../diagrams/drawing1.xml"/><Relationship Id="rId9" Type="http://schemas.openxmlformats.org/officeDocument/2006/relationships/diagramData" Target="../diagrams/data2.xml"/><Relationship Id="rId10" Type="http://schemas.openxmlformats.org/officeDocument/2006/relationships/diagramLayout" Target="../diagrams/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14.xml"/><Relationship Id="rId3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4" Type="http://schemas.openxmlformats.org/officeDocument/2006/relationships/image" Target="../media/image39.png"/><Relationship Id="rId5" Type="http://schemas.openxmlformats.org/officeDocument/2006/relationships/image" Target="../media/image40.png"/><Relationship Id="rId6" Type="http://schemas.openxmlformats.org/officeDocument/2006/relationships/image" Target="../media/image41.png"/><Relationship Id="rId7" Type="http://schemas.openxmlformats.org/officeDocument/2006/relationships/image" Target="../media/image42.png"/><Relationship Id="rId8" Type="http://schemas.openxmlformats.org/officeDocument/2006/relationships/image" Target="../media/image43.png"/><Relationship Id="rId9" Type="http://schemas.openxmlformats.org/officeDocument/2006/relationships/image" Target="../media/image44.png"/><Relationship Id="rId10" Type="http://schemas.openxmlformats.org/officeDocument/2006/relationships/image" Target="../media/image45.png"/><Relationship Id="rId11" Type="http://schemas.openxmlformats.org/officeDocument/2006/relationships/image" Target="../media/image26.png"/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4" Type="http://schemas.openxmlformats.org/officeDocument/2006/relationships/image" Target="../media/image40.png"/><Relationship Id="rId5" Type="http://schemas.openxmlformats.org/officeDocument/2006/relationships/image" Target="../media/image41.png"/><Relationship Id="rId6" Type="http://schemas.openxmlformats.org/officeDocument/2006/relationships/image" Target="../media/image42.png"/><Relationship Id="rId7" Type="http://schemas.openxmlformats.org/officeDocument/2006/relationships/image" Target="../media/image43.png"/><Relationship Id="rId8" Type="http://schemas.openxmlformats.org/officeDocument/2006/relationships/image" Target="../media/image44.png"/><Relationship Id="rId9" Type="http://schemas.openxmlformats.org/officeDocument/2006/relationships/image" Target="../media/image45.png"/><Relationship Id="rId1" Type="http://schemas.openxmlformats.org/officeDocument/2006/relationships/slideLayout" Target="../slideLayouts/slideLayout20.xml"/><Relationship Id="rId2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17.xml"/><Relationship Id="rId3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notesSlide" Target="../notesSlides/notesSlide18.xml"/><Relationship Id="rId3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4" Type="http://schemas.openxmlformats.org/officeDocument/2006/relationships/image" Target="../media/image47.png"/><Relationship Id="rId5" Type="http://schemas.openxmlformats.org/officeDocument/2006/relationships/image" Target="../media/image26.png"/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2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4" Type="http://schemas.openxmlformats.org/officeDocument/2006/relationships/image" Target="../media/image49.png"/><Relationship Id="rId5" Type="http://schemas.openxmlformats.org/officeDocument/2006/relationships/image" Target="../media/image26.png"/><Relationship Id="rId1" Type="http://schemas.openxmlformats.org/officeDocument/2006/relationships/slideLayout" Target="../slideLayouts/slideLayout19.xml"/><Relationship Id="rId2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21.xml"/><Relationship Id="rId3" Type="http://schemas.openxmlformats.org/officeDocument/2006/relationships/image" Target="../media/image2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4" Type="http://schemas.openxmlformats.org/officeDocument/2006/relationships/image" Target="../media/image51.png"/><Relationship Id="rId5" Type="http://schemas.openxmlformats.org/officeDocument/2006/relationships/image" Target="../media/image52.png"/><Relationship Id="rId6" Type="http://schemas.openxmlformats.org/officeDocument/2006/relationships/image" Target="../media/image53.png"/><Relationship Id="rId7" Type="http://schemas.openxmlformats.org/officeDocument/2006/relationships/image" Target="../media/image26.png"/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23.xml"/><Relationship Id="rId3" Type="http://schemas.openxmlformats.org/officeDocument/2006/relationships/image" Target="../media/image35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24.xml"/><Relationship Id="rId3" Type="http://schemas.openxmlformats.org/officeDocument/2006/relationships/image" Target="../media/image35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Relationship Id="rId2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26.xml"/><Relationship Id="rId3" Type="http://schemas.openxmlformats.org/officeDocument/2006/relationships/image" Target="../media/image35.png"/></Relationships>
</file>

<file path=ppt/slides/_rels/slide27.xml.rels><?xml version="1.0" encoding="UTF-8" standalone="yes"?>
<Relationships xmlns="http://schemas.openxmlformats.org/package/2006/relationships"><Relationship Id="rId11" Type="http://schemas.openxmlformats.org/officeDocument/2006/relationships/hyperlink" Target="https://apps.who.int/iris/bitstream/handle/10665/329589/9789241516808-eng.pdf" TargetMode="External"/><Relationship Id="rId12" Type="http://schemas.openxmlformats.org/officeDocument/2006/relationships/hyperlink" Target="https://apps.who.int/iris/bitstream/handle/10665/329587/9789241516792-eng.pdf" TargetMode="External"/><Relationship Id="rId13" Type="http://schemas.openxmlformats.org/officeDocument/2006/relationships/hyperlink" Target="https://extranet.who.int/mindbank/" TargetMode="External"/><Relationship Id="rId14" Type="http://schemas.openxmlformats.org/officeDocument/2006/relationships/hyperlink" Target="https://qualityrights.org/" TargetMode="External"/><Relationship Id="rId1" Type="http://schemas.openxmlformats.org/officeDocument/2006/relationships/slideLayout" Target="../slideLayouts/slideLayout20.xml"/><Relationship Id="rId2" Type="http://schemas.openxmlformats.org/officeDocument/2006/relationships/notesSlide" Target="../notesSlides/notesSlide27.xml"/><Relationship Id="rId3" Type="http://schemas.openxmlformats.org/officeDocument/2006/relationships/image" Target="../media/image35.png"/><Relationship Id="rId4" Type="http://schemas.openxmlformats.org/officeDocument/2006/relationships/hyperlink" Target="https://www.who.int/publications/i/item/who-qualityrights-guidance-and-training-tools" TargetMode="External"/><Relationship Id="rId5" Type="http://schemas.openxmlformats.org/officeDocument/2006/relationships/hyperlink" Target="https://www.who.int/teams/mental-health-and-substance-use/policy-law-rights/qr-e-training" TargetMode="External"/><Relationship Id="rId6" Type="http://schemas.openxmlformats.org/officeDocument/2006/relationships/hyperlink" Target="https://www.who.int/publications/i/item/guidance-and-technical-packages-on-community-mental-health-services" TargetMode="External"/><Relationship Id="rId7" Type="http://schemas.openxmlformats.org/officeDocument/2006/relationships/hyperlink" Target="https://www.who.int/publications/i/item/9789241548410" TargetMode="External"/><Relationship Id="rId8" Type="http://schemas.openxmlformats.org/officeDocument/2006/relationships/hyperlink" Target="https://www.who.int/publications/i/item/9789241516815" TargetMode="External"/><Relationship Id="rId9" Type="http://schemas.openxmlformats.org/officeDocument/2006/relationships/hyperlink" Target="https://apps.who.int/iris/bitstream/handle/10665/329591/9789241516785-eng.pdf" TargetMode="External"/><Relationship Id="rId10" Type="http://schemas.openxmlformats.org/officeDocument/2006/relationships/hyperlink" Target="https://apps.who.int/iris/bitstream/handle/10665/329594/9789241516778-eng.pdf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wmf"/><Relationship Id="rId4" Type="http://schemas.openxmlformats.org/officeDocument/2006/relationships/image" Target="../media/image26.png"/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2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4" Type="http://schemas.openxmlformats.org/officeDocument/2006/relationships/image" Target="../media/image28.png"/><Relationship Id="rId5" Type="http://schemas.openxmlformats.org/officeDocument/2006/relationships/image" Target="../media/image29.png"/><Relationship Id="rId6" Type="http://schemas.openxmlformats.org/officeDocument/2006/relationships/image" Target="../media/image30.png"/><Relationship Id="rId7" Type="http://schemas.openxmlformats.org/officeDocument/2006/relationships/image" Target="../media/image31.png"/><Relationship Id="rId8" Type="http://schemas.openxmlformats.org/officeDocument/2006/relationships/image" Target="../media/image32.png"/><Relationship Id="rId9" Type="http://schemas.openxmlformats.org/officeDocument/2006/relationships/image" Target="../media/image33.png"/><Relationship Id="rId10" Type="http://schemas.openxmlformats.org/officeDocument/2006/relationships/image" Target="../media/image34.png"/><Relationship Id="rId11" Type="http://schemas.openxmlformats.org/officeDocument/2006/relationships/image" Target="../media/image26.png"/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4" Type="http://schemas.openxmlformats.org/officeDocument/2006/relationships/image" Target="../media/image36.png"/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4" Type="http://schemas.openxmlformats.org/officeDocument/2006/relationships/notesSlide" Target="../notesSlides/notesSlide8.xml"/><Relationship Id="rId5" Type="http://schemas.openxmlformats.org/officeDocument/2006/relationships/image" Target="../media/image26.png"/><Relationship Id="rId6" Type="http://schemas.openxmlformats.org/officeDocument/2006/relationships/image" Target="../media/image37.png"/><Relationship Id="rId1" Type="http://schemas.microsoft.com/office/2007/relationships/media" Target="../media/media1.mp4"/><Relationship Id="rId2" Type="http://schemas.openxmlformats.org/officeDocument/2006/relationships/video" Target="../media/media1.mp4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 descr="WHO-EN-white-H">
            <a:extLst>
              <a:ext uri="{FF2B5EF4-FFF2-40B4-BE49-F238E27FC236}">
                <a16:creationId xmlns:a16="http://schemas.microsoft.com/office/drawing/2014/main" xmlns="" id="{52E98643-8F7A-4704-896E-5F758B9E06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461" y="5663651"/>
            <a:ext cx="2720339" cy="886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Text Box 5">
            <a:extLst>
              <a:ext uri="{FF2B5EF4-FFF2-40B4-BE49-F238E27FC236}">
                <a16:creationId xmlns:a16="http://schemas.microsoft.com/office/drawing/2014/main" xmlns="" id="{D66EDC56-59D3-40BD-8048-7CEC0E1B38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7360" y="563563"/>
            <a:ext cx="8117839" cy="5478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lvl="0" algn="ctr">
              <a:spcBef>
                <a:spcPct val="50000"/>
              </a:spcBef>
              <a:defRPr/>
            </a:pPr>
            <a:endParaRPr lang="en-US" altLang="en-US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algn="ctr">
              <a:spcBef>
                <a:spcPct val="50000"/>
              </a:spcBef>
              <a:defRPr/>
            </a:pPr>
            <a:r>
              <a:rPr lang="en-US" altLang="en-US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O QualityRights</a:t>
            </a:r>
          </a:p>
          <a:p>
            <a:pPr lvl="0" algn="ctr">
              <a:spcBef>
                <a:spcPct val="50000"/>
              </a:spcBef>
              <a:defRPr/>
            </a:pPr>
            <a:r>
              <a:rPr lang="en-US" altLang="en-US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nsforming services &amp; promoting rights in mental health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kumimoji="0" lang="en-GB" alt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</a:br>
            <a:endParaRPr kumimoji="0" lang="en-GB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n-GB" altLang="en-US" sz="18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GB" alt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Dr Michelle Funk</a:t>
            </a:r>
          </a:p>
          <a:p>
            <a:pPr algn="ctr"/>
            <a:r>
              <a:rPr lang="en-US" alt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Head, Policy, Law and Human Rights (PLR)</a:t>
            </a:r>
          </a:p>
          <a:p>
            <a:pPr algn="ctr"/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Department of Mental Health &amp; Substance Use,  </a:t>
            </a:r>
            <a:b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World Health Organization </a:t>
            </a:r>
          </a:p>
        </p:txBody>
      </p:sp>
      <p:pic>
        <p:nvPicPr>
          <p:cNvPr id="20" name="Google Shape;109;p1">
            <a:extLst>
              <a:ext uri="{FF2B5EF4-FFF2-40B4-BE49-F238E27FC236}">
                <a16:creationId xmlns:a16="http://schemas.microsoft.com/office/drawing/2014/main" xmlns="" id="{8936F708-2858-234D-A448-BBDA193680E8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119032" y="343047"/>
            <a:ext cx="905936" cy="745764"/>
          </a:xfrm>
          <a:prstGeom prst="rect">
            <a:avLst/>
          </a:prstGeom>
          <a:noFill/>
          <a:ln>
            <a:noFill/>
          </a:ln>
          <a:effectLst>
            <a:outerShdw blurRad="50800" dist="38100" dir="8100000" algn="tr" rotWithShape="0">
              <a:srgbClr val="000000">
                <a:alpha val="40000"/>
              </a:srgbClr>
            </a:outerShdw>
          </a:effectLst>
        </p:spPr>
      </p:pic>
      <p:pic>
        <p:nvPicPr>
          <p:cNvPr id="12" name="Picture 2" descr="WHO_053923 orig">
            <a:extLst>
              <a:ext uri="{FF2B5EF4-FFF2-40B4-BE49-F238E27FC236}">
                <a16:creationId xmlns:a16="http://schemas.microsoft.com/office/drawing/2014/main" xmlns="" id="{A9836B84-134E-1047-A5F8-9559AD412C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66" r="11310"/>
          <a:stretch>
            <a:fillRect/>
          </a:stretch>
        </p:blipFill>
        <p:spPr bwMode="auto">
          <a:xfrm>
            <a:off x="6948264" y="2517133"/>
            <a:ext cx="1949767" cy="1848278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</p:pic>
      <p:pic>
        <p:nvPicPr>
          <p:cNvPr id="13" name="Picture 3" descr="Mental Health &amp; Dev COVER PDFX1a_img2">
            <a:extLst>
              <a:ext uri="{FF2B5EF4-FFF2-40B4-BE49-F238E27FC236}">
                <a16:creationId xmlns:a16="http://schemas.microsoft.com/office/drawing/2014/main" xmlns="" id="{B4FF12CF-817A-F549-9755-35AB542EA0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2517133"/>
            <a:ext cx="1901465" cy="1828846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</p:pic>
      <p:pic>
        <p:nvPicPr>
          <p:cNvPr id="14" name="Picture 4" descr="Mental Health &amp; Dev COVER PDFX1a_img6">
            <a:extLst>
              <a:ext uri="{FF2B5EF4-FFF2-40B4-BE49-F238E27FC236}">
                <a16:creationId xmlns:a16="http://schemas.microsoft.com/office/drawing/2014/main" xmlns="" id="{38D2B127-8F0A-814C-9343-79B0E4E41B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79" b="19159"/>
          <a:stretch>
            <a:fillRect/>
          </a:stretch>
        </p:blipFill>
        <p:spPr bwMode="auto">
          <a:xfrm>
            <a:off x="4716016" y="2465707"/>
            <a:ext cx="1981869" cy="1913151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</p:pic>
      <p:pic>
        <p:nvPicPr>
          <p:cNvPr id="15" name="Picture 5" descr="http://downloads.unmultimedia.org/photo/medium/397/397932.jpg">
            <a:extLst>
              <a:ext uri="{FF2B5EF4-FFF2-40B4-BE49-F238E27FC236}">
                <a16:creationId xmlns:a16="http://schemas.microsoft.com/office/drawing/2014/main" xmlns="" id="{2EA7AD69-9D42-CD4A-B158-3598364EA1BC}"/>
              </a:ext>
            </a:extLst>
          </p:cNvPr>
          <p:cNvPicPr>
            <a:picLocks noChangeArrowheads="1"/>
          </p:cNvPicPr>
          <p:nvPr/>
        </p:nvPicPr>
        <p:blipFill>
          <a:blip r:embed="rId8" r:link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727" y="2517134"/>
            <a:ext cx="1893527" cy="1828846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grpSp>
        <p:nvGrpSpPr>
          <p:cNvPr id="29" name="Google Shape;90;p1">
            <a:extLst>
              <a:ext uri="{FF2B5EF4-FFF2-40B4-BE49-F238E27FC236}">
                <a16:creationId xmlns:a16="http://schemas.microsoft.com/office/drawing/2014/main" xmlns="" id="{BFC95E0C-CC1C-D488-9FEF-55E5E1C52393}"/>
              </a:ext>
            </a:extLst>
          </p:cNvPr>
          <p:cNvGrpSpPr/>
          <p:nvPr/>
        </p:nvGrpSpPr>
        <p:grpSpPr>
          <a:xfrm>
            <a:off x="-11019" y="-31980"/>
            <a:ext cx="9192071" cy="831394"/>
            <a:chOff x="-28580" y="-14290"/>
            <a:chExt cx="3457576" cy="894957"/>
          </a:xfrm>
        </p:grpSpPr>
        <p:sp>
          <p:nvSpPr>
            <p:cNvPr id="30" name="Google Shape;91;p1">
              <a:extLst>
                <a:ext uri="{FF2B5EF4-FFF2-40B4-BE49-F238E27FC236}">
                  <a16:creationId xmlns:a16="http://schemas.microsoft.com/office/drawing/2014/main" xmlns="" id="{50A1D814-EF81-B5C7-BA22-97CC38B49E1D}"/>
                </a:ext>
              </a:extLst>
            </p:cNvPr>
            <p:cNvSpPr/>
            <p:nvPr/>
          </p:nvSpPr>
          <p:spPr>
            <a:xfrm rot="10800000">
              <a:off x="714370" y="-1283"/>
              <a:ext cx="2714625" cy="814944"/>
            </a:xfrm>
            <a:prstGeom prst="rtTriangle">
              <a:avLst/>
            </a:prstGeom>
            <a:solidFill>
              <a:srgbClr val="4472C4">
                <a:alpha val="20392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92;p1">
              <a:extLst>
                <a:ext uri="{FF2B5EF4-FFF2-40B4-BE49-F238E27FC236}">
                  <a16:creationId xmlns:a16="http://schemas.microsoft.com/office/drawing/2014/main" xmlns="" id="{F5E15750-9C23-0A20-0B9F-8DC405956D58}"/>
                </a:ext>
              </a:extLst>
            </p:cNvPr>
            <p:cNvSpPr/>
            <p:nvPr/>
          </p:nvSpPr>
          <p:spPr>
            <a:xfrm rot="10800000">
              <a:off x="714371" y="-1"/>
              <a:ext cx="2714625" cy="654491"/>
            </a:xfrm>
            <a:prstGeom prst="rtTriangle">
              <a:avLst/>
            </a:prstGeom>
            <a:solidFill>
              <a:srgbClr val="4472C4">
                <a:alpha val="474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93;p1">
              <a:extLst>
                <a:ext uri="{FF2B5EF4-FFF2-40B4-BE49-F238E27FC236}">
                  <a16:creationId xmlns:a16="http://schemas.microsoft.com/office/drawing/2014/main" xmlns="" id="{1F1CCA1D-711E-0009-08E0-415D49A1EECC}"/>
                </a:ext>
              </a:extLst>
            </p:cNvPr>
            <p:cNvSpPr/>
            <p:nvPr/>
          </p:nvSpPr>
          <p:spPr>
            <a:xfrm rot="10800000">
              <a:off x="700822" y="-14290"/>
              <a:ext cx="2721804" cy="471488"/>
            </a:xfrm>
            <a:prstGeom prst="rtTriangle">
              <a:avLst/>
            </a:prstGeom>
            <a:solidFill>
              <a:srgbClr val="4472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94;p1">
              <a:extLst>
                <a:ext uri="{FF2B5EF4-FFF2-40B4-BE49-F238E27FC236}">
                  <a16:creationId xmlns:a16="http://schemas.microsoft.com/office/drawing/2014/main" xmlns="" id="{27733B5B-57CE-DF52-3428-3E26B4ED929A}"/>
                </a:ext>
              </a:extLst>
            </p:cNvPr>
            <p:cNvSpPr/>
            <p:nvPr/>
          </p:nvSpPr>
          <p:spPr>
            <a:xfrm rot="10800000" flipH="1">
              <a:off x="-28580" y="-6119"/>
              <a:ext cx="2881838" cy="886786"/>
            </a:xfrm>
            <a:prstGeom prst="rtTriangle">
              <a:avLst/>
            </a:prstGeom>
            <a:solidFill>
              <a:srgbClr val="B3C6E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95;p1">
              <a:extLst>
                <a:ext uri="{FF2B5EF4-FFF2-40B4-BE49-F238E27FC236}">
                  <a16:creationId xmlns:a16="http://schemas.microsoft.com/office/drawing/2014/main" xmlns="" id="{EE3ECE91-F597-EF52-1DD9-8F68083028CC}"/>
                </a:ext>
              </a:extLst>
            </p:cNvPr>
            <p:cNvSpPr/>
            <p:nvPr/>
          </p:nvSpPr>
          <p:spPr>
            <a:xfrm rot="10800000" flipH="1">
              <a:off x="-28576" y="-6117"/>
              <a:ext cx="3028953" cy="714376"/>
            </a:xfrm>
            <a:prstGeom prst="rtTriangle">
              <a:avLst/>
            </a:prstGeom>
            <a:solidFill>
              <a:srgbClr val="4472C4">
                <a:alpha val="474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A41EDFA-D11B-6E02-1FA1-69F46DF192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4400" y="8013"/>
            <a:ext cx="9180000" cy="929825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76200" dir="5400000" algn="ctr" rotWithShape="0">
              <a:schemeClr val="tx1">
                <a:alpha val="40000"/>
              </a:schemeClr>
            </a:outerShdw>
          </a:effectLst>
        </p:spPr>
        <p:txBody>
          <a:bodyPr wrap="square" tIns="108000" rIns="720000" bIns="216000" anchor="ctr" anchorCtr="0">
            <a:no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400" b="1" dirty="0">
                <a:solidFill>
                  <a:schemeClr val="bg1"/>
                </a:solidFill>
                <a:latin typeface="Ebrima"/>
                <a:ea typeface="+mj-ea"/>
                <a:cs typeface="+mj-cs"/>
              </a:rPr>
              <a:t>QualityRights e-training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400" b="1" dirty="0">
                <a:solidFill>
                  <a:schemeClr val="bg1"/>
                </a:solidFill>
                <a:latin typeface="Ebrima"/>
                <a:ea typeface="+mj-ea"/>
                <a:cs typeface="+mj-cs"/>
              </a:rPr>
              <a:t>Quotes from learners </a:t>
            </a: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xmlns="" id="{3EC26859-A21A-C1E3-8936-922E13C991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2888" cy="107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  <p:sp>
        <p:nvSpPr>
          <p:cNvPr id="12" name="Rectangle 7">
            <a:extLst>
              <a:ext uri="{FF2B5EF4-FFF2-40B4-BE49-F238E27FC236}">
                <a16:creationId xmlns:a16="http://schemas.microsoft.com/office/drawing/2014/main" xmlns="" id="{CA0E8E90-B016-415C-B967-D3E65DEFDF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6039" y="1118653"/>
            <a:ext cx="8791512" cy="175432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“Los Derechos Humanos, son una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lucha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en la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cual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todos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debemos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participar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y es una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enseñanza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que en principio debe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partir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del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hogar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y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solidificarse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en la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sociedad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, en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cada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institución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estatal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o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privada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existente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y ser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conocida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y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adoptada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por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todos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como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principio fundamental y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darle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el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valor que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amerita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, Hoy por hoy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evidenciamos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que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estamos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muy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lejos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de que la DUDH se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adopte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en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todas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las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naciones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y se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cumpla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a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cabalidad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por Derecho.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Excelente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Curso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. Gracias.”</a:t>
            </a:r>
          </a:p>
        </p:txBody>
      </p:sp>
      <p:sp>
        <p:nvSpPr>
          <p:cNvPr id="14" name="Rectangle 8">
            <a:extLst>
              <a:ext uri="{FF2B5EF4-FFF2-40B4-BE49-F238E27FC236}">
                <a16:creationId xmlns:a16="http://schemas.microsoft.com/office/drawing/2014/main" xmlns="" id="{29A9C3F9-B444-443D-BB6C-879D98E420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316" y="3092734"/>
            <a:ext cx="8736555" cy="64633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altLang="en-US" sz="1800" dirty="0">
                <a:solidFill>
                  <a:srgbClr val="14171A"/>
                </a:solidFill>
                <a:highlight>
                  <a:srgbClr val="4472C4"/>
                </a:highlight>
                <a:latin typeface="Abadi" panose="020B0604020104020204" pitchFamily="34" charset="0"/>
              </a:rPr>
              <a:t>“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Muchas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gracias por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esta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intruducción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. Me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permitió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reflexionar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respecto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a mi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práctica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profesional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y lo que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enseño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 a mis </a:t>
            </a:r>
            <a:r>
              <a:rPr lang="en-US" altLang="en-US" sz="1800" dirty="0" err="1">
                <a:solidFill>
                  <a:srgbClr val="14171A"/>
                </a:solidFill>
                <a:latin typeface="Abadi" panose="020B0604020104020204" pitchFamily="34" charset="0"/>
              </a:rPr>
              <a:t>estudiantes</a:t>
            </a:r>
            <a:r>
              <a:rPr lang="en-US" alt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.”</a:t>
            </a:r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xmlns="" id="{7D152979-F005-4461-BFBE-F997EB9A8C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6040" y="3942182"/>
            <a:ext cx="8791511" cy="64633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“Wow. Learning has indeed taken place. I pray to resolve from making the final and only decision for my patients without caring for their legal capacity.”</a:t>
            </a:r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xmlns="" id="{5C605F03-785D-4611-B240-4B693C08BD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016" y="5461566"/>
            <a:ext cx="8636149" cy="64633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800" dirty="0">
                <a:solidFill>
                  <a:srgbClr val="14171A"/>
                </a:solidFill>
                <a:latin typeface="Abadi" panose="020B0604020104020204" pitchFamily="34" charset="0"/>
              </a:rPr>
              <a:t>“I loved every bit of it! So interesting and captivating. Very short and straight to the point. And, very educative! I am glad I chose to do it.”</a:t>
            </a: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xmlns="" id="{0053F0BA-EEF5-4B85-B340-A121179903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6040" y="4867321"/>
            <a:ext cx="4081861" cy="3693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GB" sz="1800" dirty="0">
                <a:solidFill>
                  <a:srgbClr val="14171A"/>
                </a:solidFill>
                <a:latin typeface="Abadi" panose="020B0604020104020204" pitchFamily="34" charset="0"/>
              </a:rPr>
              <a:t>“Life changing!”</a:t>
            </a:r>
          </a:p>
        </p:txBody>
      </p:sp>
      <p:sp>
        <p:nvSpPr>
          <p:cNvPr id="17" name="Rectangle 8">
            <a:extLst>
              <a:ext uri="{FF2B5EF4-FFF2-40B4-BE49-F238E27FC236}">
                <a16:creationId xmlns:a16="http://schemas.microsoft.com/office/drawing/2014/main" xmlns="" id="{E494B0C5-0681-4D79-B911-DCA6CE3E7B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6039" y="6332810"/>
            <a:ext cx="7316955" cy="36933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GB" sz="1800" dirty="0">
                <a:solidFill>
                  <a:srgbClr val="14171A"/>
                </a:solidFill>
                <a:latin typeface="Abadi" panose="020B0604020104020204" pitchFamily="34" charset="0"/>
              </a:rPr>
              <a:t>“Coercion, violence and abuse at work must end </a:t>
            </a:r>
            <a:r>
              <a:rPr lang="en-GB" sz="1800" b="1" dirty="0">
                <a:solidFill>
                  <a:srgbClr val="14171A"/>
                </a:solidFill>
                <a:latin typeface="Abadi" panose="020B0604020104020204" pitchFamily="34" charset="0"/>
              </a:rPr>
              <a:t>NOW</a:t>
            </a:r>
            <a:r>
              <a:rPr lang="en-GB" sz="1800" dirty="0">
                <a:solidFill>
                  <a:srgbClr val="14171A"/>
                </a:solidFill>
                <a:latin typeface="Abadi" panose="020B0604020104020204" pitchFamily="34" charset="0"/>
              </a:rPr>
              <a:t>!!!”</a:t>
            </a:r>
          </a:p>
        </p:txBody>
      </p:sp>
    </p:spTree>
    <p:extLst>
      <p:ext uri="{BB962C8B-B14F-4D97-AF65-F5344CB8AC3E}">
        <p14:creationId xmlns:p14="http://schemas.microsoft.com/office/powerpoint/2010/main" val="6210716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>
            <a:extLst>
              <a:ext uri="{FF2B5EF4-FFF2-40B4-BE49-F238E27FC236}">
                <a16:creationId xmlns:a16="http://schemas.microsoft.com/office/drawing/2014/main" xmlns="" id="{8311B739-CDF3-9D2B-2237-4422889578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2200" y="846533"/>
            <a:ext cx="6885000" cy="945000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76200" dir="5400000" algn="ctr" rotWithShape="0">
              <a:schemeClr val="tx1">
                <a:alpha val="40000"/>
              </a:schemeClr>
            </a:outerShdw>
          </a:effectLst>
        </p:spPr>
        <p:txBody>
          <a:bodyPr wrap="square" tIns="81000" rIns="540000" bIns="162000" anchor="ctr" anchorCtr="0">
            <a:no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None/>
              <a:defRPr/>
            </a:pPr>
            <a:r>
              <a:rPr lang="en-US" altLang="en-US" sz="2100" b="1" dirty="0">
                <a:solidFill>
                  <a:srgbClr val="FFFFFF"/>
                </a:solidFill>
                <a:latin typeface="Ebrima"/>
              </a:rPr>
              <a:t>QualityRights e-training reach</a:t>
            </a: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xmlns="" id="{3F05D342-415B-9B1C-6ABC-E4298E4D0C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857250"/>
            <a:ext cx="977166" cy="80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  <p:sp>
        <p:nvSpPr>
          <p:cNvPr id="8" name="TextBox 1">
            <a:extLst>
              <a:ext uri="{FF2B5EF4-FFF2-40B4-BE49-F238E27FC236}">
                <a16:creationId xmlns:a16="http://schemas.microsoft.com/office/drawing/2014/main" xmlns="" id="{95ECCC83-447D-D780-9C44-CF192F1465D3}"/>
              </a:ext>
            </a:extLst>
          </p:cNvPr>
          <p:cNvSpPr txBox="1"/>
          <p:nvPr/>
        </p:nvSpPr>
        <p:spPr>
          <a:xfrm>
            <a:off x="1683000" y="2164387"/>
            <a:ext cx="5289300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tabLst>
                <a:tab pos="171450" algn="l"/>
              </a:tabLst>
              <a:defRPr/>
            </a:pPr>
            <a:r>
              <a:rPr lang="en-US" sz="18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R e-training stats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xmlns="" id="{A47F9890-2FC3-F52C-B9FB-1078A1E68784}"/>
              </a:ext>
            </a:extLst>
          </p:cNvPr>
          <p:cNvGrpSpPr/>
          <p:nvPr/>
        </p:nvGrpSpPr>
        <p:grpSpPr>
          <a:xfrm>
            <a:off x="1683001" y="2700834"/>
            <a:ext cx="3894992" cy="861646"/>
            <a:chOff x="189885" y="932"/>
            <a:chExt cx="3914440" cy="2965716"/>
          </a:xfrm>
        </p:grpSpPr>
        <p:sp>
          <p:nvSpPr>
            <p:cNvPr id="11" name="Sechseck 10">
              <a:extLst>
                <a:ext uri="{FF2B5EF4-FFF2-40B4-BE49-F238E27FC236}">
                  <a16:creationId xmlns:a16="http://schemas.microsoft.com/office/drawing/2014/main" xmlns="" id="{A587612D-B65A-5DFB-504B-B2D8A9D50CA7}"/>
                </a:ext>
              </a:extLst>
            </p:cNvPr>
            <p:cNvSpPr/>
            <p:nvPr/>
          </p:nvSpPr>
          <p:spPr>
            <a:xfrm>
              <a:off x="189885" y="932"/>
              <a:ext cx="3914440" cy="2965716"/>
            </a:xfrm>
            <a:prstGeom prst="hexagon">
              <a:avLst/>
            </a:prstGeom>
            <a:solidFill>
              <a:schemeClr val="accent5">
                <a:lumMod val="25000"/>
                <a:lumOff val="75000"/>
                <a:alpha val="50000"/>
              </a:schemeClr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0">
              <a:schemeClr val="accent2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</p:sp>
        <p:sp>
          <p:nvSpPr>
            <p:cNvPr id="12" name="Sechseck 4">
              <a:extLst>
                <a:ext uri="{FF2B5EF4-FFF2-40B4-BE49-F238E27FC236}">
                  <a16:creationId xmlns:a16="http://schemas.microsoft.com/office/drawing/2014/main" xmlns="" id="{56CF58AD-4643-2CDA-68E4-02EF7184A89C}"/>
                </a:ext>
              </a:extLst>
            </p:cNvPr>
            <p:cNvSpPr txBox="1"/>
            <p:nvPr/>
          </p:nvSpPr>
          <p:spPr>
            <a:xfrm>
              <a:off x="763230" y="435319"/>
              <a:ext cx="3019303" cy="20969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110188" tIns="19050" rIns="110188" bIns="19050" numCol="1" spcCol="1270" anchor="ctr" anchorCtr="0">
              <a:noAutofit/>
            </a:bodyPr>
            <a:lstStyle/>
            <a:p>
              <a:pPr>
                <a:lnSpc>
                  <a:spcPct val="107000"/>
                </a:lnSpc>
                <a:spcBef>
                  <a:spcPts val="0"/>
                </a:spcBef>
                <a:spcAft>
                  <a:spcPts val="600"/>
                </a:spcAft>
                <a:tabLst>
                  <a:tab pos="171450" algn="l"/>
                </a:tabLst>
                <a:defRPr/>
              </a:pPr>
              <a:r>
                <a:rPr lang="en-US" sz="1800" b="1" dirty="0">
                  <a:solidFill>
                    <a:srgbClr val="004A99">
                      <a:lumMod val="75000"/>
                    </a:srgbClr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90,760 </a:t>
              </a:r>
              <a:r>
                <a:rPr lang="en-US" sz="15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people have registered on the e-training platform </a:t>
              </a: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xmlns="" id="{3B58BF1C-5BDD-380E-7A0E-7BAA5D08A29E}"/>
              </a:ext>
            </a:extLst>
          </p:cNvPr>
          <p:cNvGrpSpPr/>
          <p:nvPr/>
        </p:nvGrpSpPr>
        <p:grpSpPr>
          <a:xfrm>
            <a:off x="3630497" y="4741551"/>
            <a:ext cx="3894992" cy="861646"/>
            <a:chOff x="189885" y="932"/>
            <a:chExt cx="3914440" cy="2965716"/>
          </a:xfrm>
          <a:solidFill>
            <a:srgbClr val="10B8BC">
              <a:alpha val="50000"/>
            </a:srgbClr>
          </a:solidFill>
        </p:grpSpPr>
        <p:sp>
          <p:nvSpPr>
            <p:cNvPr id="17" name="Sechseck 16">
              <a:extLst>
                <a:ext uri="{FF2B5EF4-FFF2-40B4-BE49-F238E27FC236}">
                  <a16:creationId xmlns:a16="http://schemas.microsoft.com/office/drawing/2014/main" xmlns="" id="{A4353E6E-5F6C-4434-839B-009C00195A24}"/>
                </a:ext>
              </a:extLst>
            </p:cNvPr>
            <p:cNvSpPr/>
            <p:nvPr/>
          </p:nvSpPr>
          <p:spPr>
            <a:xfrm>
              <a:off x="189885" y="932"/>
              <a:ext cx="3914440" cy="2965716"/>
            </a:xfrm>
            <a:prstGeom prst="hexagon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0">
              <a:schemeClr val="accent2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</p:sp>
        <p:sp>
          <p:nvSpPr>
            <p:cNvPr id="18" name="Sechseck 4">
              <a:extLst>
                <a:ext uri="{FF2B5EF4-FFF2-40B4-BE49-F238E27FC236}">
                  <a16:creationId xmlns:a16="http://schemas.microsoft.com/office/drawing/2014/main" xmlns="" id="{7208D471-89E1-18B7-831D-150078008008}"/>
                </a:ext>
              </a:extLst>
            </p:cNvPr>
            <p:cNvSpPr txBox="1"/>
            <p:nvPr/>
          </p:nvSpPr>
          <p:spPr>
            <a:xfrm>
              <a:off x="763231" y="435319"/>
              <a:ext cx="3089262" cy="2096943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110188" tIns="19050" rIns="110188" bIns="19050" numCol="1" spcCol="1270" anchor="ctr" anchorCtr="0">
              <a:noAutofit/>
            </a:bodyPr>
            <a:lstStyle/>
            <a:p>
              <a:pPr>
                <a:lnSpc>
                  <a:spcPct val="107000"/>
                </a:lnSpc>
                <a:spcBef>
                  <a:spcPts val="0"/>
                </a:spcBef>
                <a:spcAft>
                  <a:spcPts val="600"/>
                </a:spcAft>
                <a:tabLst>
                  <a:tab pos="171450" algn="l"/>
                </a:tabLst>
                <a:defRPr/>
              </a:pPr>
              <a:r>
                <a:rPr lang="en-US" sz="1800" b="1" dirty="0">
                  <a:solidFill>
                    <a:srgbClr val="003773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38,187</a:t>
              </a:r>
              <a:r>
                <a:rPr lang="en-US" sz="15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have completed the course &amp; been awarded WHO certificate</a:t>
              </a:r>
              <a:endParaRPr lang="en-US" sz="18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xmlns="" id="{846BE986-C796-CBD1-9AA0-94D2847A9F2F}"/>
              </a:ext>
            </a:extLst>
          </p:cNvPr>
          <p:cNvGrpSpPr/>
          <p:nvPr/>
        </p:nvGrpSpPr>
        <p:grpSpPr>
          <a:xfrm>
            <a:off x="2547208" y="3721192"/>
            <a:ext cx="3894992" cy="861646"/>
            <a:chOff x="189885" y="932"/>
            <a:chExt cx="3914440" cy="2965716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20" name="Sechseck 19">
              <a:extLst>
                <a:ext uri="{FF2B5EF4-FFF2-40B4-BE49-F238E27FC236}">
                  <a16:creationId xmlns:a16="http://schemas.microsoft.com/office/drawing/2014/main" xmlns="" id="{32D7BA86-28B6-F1B4-92FD-F3E15C535F7A}"/>
                </a:ext>
              </a:extLst>
            </p:cNvPr>
            <p:cNvSpPr/>
            <p:nvPr/>
          </p:nvSpPr>
          <p:spPr>
            <a:xfrm>
              <a:off x="189885" y="932"/>
              <a:ext cx="3914440" cy="2965716"/>
            </a:xfrm>
            <a:prstGeom prst="hexagon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0">
              <a:schemeClr val="accent2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</p:sp>
        <p:sp>
          <p:nvSpPr>
            <p:cNvPr id="21" name="Sechseck 4">
              <a:extLst>
                <a:ext uri="{FF2B5EF4-FFF2-40B4-BE49-F238E27FC236}">
                  <a16:creationId xmlns:a16="http://schemas.microsoft.com/office/drawing/2014/main" xmlns="" id="{7182A234-A7E1-5496-366B-B8D0AE3453DA}"/>
                </a:ext>
              </a:extLst>
            </p:cNvPr>
            <p:cNvSpPr txBox="1"/>
            <p:nvPr/>
          </p:nvSpPr>
          <p:spPr>
            <a:xfrm>
              <a:off x="763230" y="435319"/>
              <a:ext cx="3043239" cy="2096943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110188" tIns="19050" rIns="110188" bIns="19050" numCol="1" spcCol="1270" anchor="ctr" anchorCtr="0">
              <a:noAutofit/>
            </a:bodyPr>
            <a:lstStyle/>
            <a:p>
              <a:pPr>
                <a:lnSpc>
                  <a:spcPct val="107000"/>
                </a:lnSpc>
                <a:spcBef>
                  <a:spcPts val="0"/>
                </a:spcBef>
                <a:spcAft>
                  <a:spcPts val="600"/>
                </a:spcAft>
                <a:tabLst>
                  <a:tab pos="171450" algn="l"/>
                </a:tabLst>
                <a:defRPr/>
              </a:pPr>
              <a:r>
                <a:rPr lang="en-US" sz="1800" b="1" dirty="0">
                  <a:solidFill>
                    <a:srgbClr val="003773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49,526</a:t>
              </a:r>
              <a:r>
                <a:rPr lang="en-US" sz="1500" dirty="0">
                  <a:solidFill>
                    <a:srgbClr val="000000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have started the e-training cours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308200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xmlns="" id="{2C5667F3-C09D-7849-A699-CD50F496F3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4400" y="-14289"/>
            <a:ext cx="9180000" cy="1260000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76200" dir="5400000" algn="ctr" rotWithShape="0">
              <a:schemeClr val="tx1">
                <a:alpha val="40000"/>
              </a:schemeClr>
            </a:outerShdw>
          </a:effectLst>
        </p:spPr>
        <p:txBody>
          <a:bodyPr wrap="square" tIns="108000" rIns="720000" bIns="216000" anchor="ctr" anchorCtr="0">
            <a:no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800" b="1" dirty="0">
                <a:solidFill>
                  <a:schemeClr val="bg1"/>
                </a:solidFill>
                <a:latin typeface="Ebrima"/>
                <a:ea typeface="+mj-ea"/>
                <a:cs typeface="+mj-cs"/>
              </a:rPr>
              <a:t>	Impact of WHO’s QualityRights e-training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xmlns="" id="{BF1046B3-6309-964C-9BB7-E7454C2D96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2888" cy="107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  <p:sp>
        <p:nvSpPr>
          <p:cNvPr id="9" name="Rectangle 3">
            <a:extLst>
              <a:ext uri="{FF2B5EF4-FFF2-40B4-BE49-F238E27FC236}">
                <a16:creationId xmlns:a16="http://schemas.microsoft.com/office/drawing/2014/main" xmlns="" id="{AA679AAA-89F6-2C41-B04F-B8621FB2C8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9999" y="1800000"/>
            <a:ext cx="7704004" cy="44529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038" indent="-192451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8000" indent="-262431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5510" indent="-155866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r>
              <a:rPr lang="en-US" altLang="zh-CN" sz="2400" b="1" dirty="0">
                <a:solidFill>
                  <a:srgbClr val="FF0000"/>
                </a:solidFill>
              </a:rPr>
              <a:t>5 million people successfully trained by 2024 </a:t>
            </a:r>
            <a:endParaRPr lang="en-US" altLang="zh-CN" sz="2400" b="1" kern="1200" dirty="0">
              <a:solidFill>
                <a:srgbClr val="FF0000"/>
              </a:solidFill>
              <a:ea typeface="+mn-ea"/>
              <a:cs typeface="+mn-cs"/>
            </a:endParaRPr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endParaRPr lang="en-US" altLang="zh-CN" sz="2000" kern="1200" dirty="0">
              <a:ea typeface="+mn-ea"/>
              <a:cs typeface="+mn-cs"/>
              <a:sym typeface="Wingdings" pitchFamily="2" charset="2"/>
            </a:endParaRPr>
          </a:p>
          <a:p>
            <a:pPr marL="342900" lvl="1" indent="-342900" defTabSz="457200">
              <a:lnSpc>
                <a:spcPct val="80000"/>
              </a:lnSpc>
              <a:buClr>
                <a:srgbClr val="004A99"/>
              </a:buClr>
              <a:buSzPct val="120000"/>
              <a:buFont typeface="Wingdings" pitchFamily="2" charset="2"/>
              <a:buChar char="Ø"/>
              <a:defRPr/>
            </a:pPr>
            <a:r>
              <a:rPr lang="en-US" altLang="zh-CN" sz="2000" kern="1200" dirty="0">
                <a:ea typeface="+mn-ea"/>
                <a:cs typeface="+mn-cs"/>
                <a:sym typeface="Wingdings" pitchFamily="2" charset="2"/>
              </a:rPr>
              <a:t>Eliminating stigma and discrimination</a:t>
            </a:r>
          </a:p>
          <a:p>
            <a:pPr marL="342900" lvl="1" indent="-342900" defTabSz="457200">
              <a:lnSpc>
                <a:spcPct val="80000"/>
              </a:lnSpc>
              <a:buClr>
                <a:srgbClr val="004A99"/>
              </a:buClr>
              <a:buSzPct val="120000"/>
              <a:buFont typeface="Wingdings" pitchFamily="2" charset="2"/>
              <a:buChar char="Ø"/>
              <a:defRPr/>
            </a:pPr>
            <a:endParaRPr lang="en-US" altLang="zh-CN" sz="2000" kern="1200" dirty="0">
              <a:ea typeface="+mn-ea"/>
              <a:cs typeface="+mn-cs"/>
              <a:sym typeface="Wingdings" pitchFamily="2" charset="2"/>
            </a:endParaRPr>
          </a:p>
          <a:p>
            <a:pPr marL="342900" lvl="1" indent="-342900" defTabSz="457200">
              <a:lnSpc>
                <a:spcPct val="80000"/>
              </a:lnSpc>
              <a:buClr>
                <a:srgbClr val="004A99"/>
              </a:buClr>
              <a:buSzPct val="120000"/>
              <a:buFont typeface="Wingdings" pitchFamily="2" charset="2"/>
              <a:buChar char="Ø"/>
              <a:defRPr/>
            </a:pPr>
            <a:r>
              <a:rPr lang="en-US" altLang="zh-CN" sz="2000" dirty="0">
                <a:sym typeface="Wingdings" pitchFamily="2" charset="2"/>
              </a:rPr>
              <a:t>Promoting a new mindset  approach in mental health based on </a:t>
            </a:r>
            <a:r>
              <a:rPr lang="en-US" altLang="zh-CN" sz="2000" b="1" dirty="0">
                <a:sym typeface="Wingdings" pitchFamily="2" charset="2"/>
              </a:rPr>
              <a:t>support</a:t>
            </a:r>
            <a:r>
              <a:rPr lang="en-US" altLang="zh-CN" sz="2000" dirty="0">
                <a:sym typeface="Wingdings" pitchFamily="2" charset="2"/>
              </a:rPr>
              <a:t>, </a:t>
            </a:r>
            <a:r>
              <a:rPr lang="en-US" altLang="zh-CN" sz="2000" b="1" dirty="0">
                <a:sym typeface="Wingdings" pitchFamily="2" charset="2"/>
              </a:rPr>
              <a:t>hope</a:t>
            </a:r>
            <a:r>
              <a:rPr lang="en-US" altLang="zh-CN" sz="2000" dirty="0">
                <a:sym typeface="Wingdings" pitchFamily="2" charset="2"/>
              </a:rPr>
              <a:t>, </a:t>
            </a:r>
            <a:r>
              <a:rPr lang="en-US" altLang="zh-CN" sz="2000" b="1" dirty="0">
                <a:sym typeface="Wingdings" pitchFamily="2" charset="2"/>
              </a:rPr>
              <a:t>acceptance</a:t>
            </a:r>
            <a:r>
              <a:rPr lang="en-US" altLang="zh-CN" sz="2000" dirty="0">
                <a:sym typeface="Wingdings" pitchFamily="2" charset="2"/>
              </a:rPr>
              <a:t> and </a:t>
            </a:r>
            <a:r>
              <a:rPr lang="en-US" altLang="zh-CN" sz="2000" b="1" dirty="0">
                <a:sym typeface="Wingdings" pitchFamily="2" charset="2"/>
              </a:rPr>
              <a:t>inclusion</a:t>
            </a:r>
            <a:endParaRPr lang="en-US" altLang="zh-CN" sz="2000" b="1" kern="1200" dirty="0">
              <a:ea typeface="+mn-ea"/>
              <a:cs typeface="+mn-cs"/>
              <a:sym typeface="Wingdings" pitchFamily="2" charset="2"/>
            </a:endParaRPr>
          </a:p>
          <a:p>
            <a:pPr marL="342900" lvl="1" indent="-342900" defTabSz="457200">
              <a:lnSpc>
                <a:spcPct val="80000"/>
              </a:lnSpc>
              <a:buClr>
                <a:srgbClr val="004A99"/>
              </a:buClr>
              <a:buSzPct val="120000"/>
              <a:defRPr/>
            </a:pPr>
            <a:endParaRPr lang="en-US" altLang="zh-CN" sz="2000" kern="1200" dirty="0">
              <a:ea typeface="+mn-ea"/>
              <a:cs typeface="+mn-cs"/>
            </a:endParaRPr>
          </a:p>
          <a:p>
            <a:pPr marL="285750" indent="-285750" defTabSz="457200">
              <a:lnSpc>
                <a:spcPct val="80000"/>
              </a:lnSpc>
              <a:buClr>
                <a:srgbClr val="FF0000"/>
              </a:buClr>
              <a:defRPr/>
            </a:pPr>
            <a:endParaRPr lang="en-US" altLang="zh-CN" sz="2400" kern="0" dirty="0">
              <a:solidFill>
                <a:srgbClr val="0070C0"/>
              </a:solidFill>
              <a:latin typeface="Ebrima"/>
            </a:endParaRPr>
          </a:p>
        </p:txBody>
      </p:sp>
      <p:graphicFrame>
        <p:nvGraphicFramePr>
          <p:cNvPr id="10" name="Diagram 23">
            <a:extLst>
              <a:ext uri="{FF2B5EF4-FFF2-40B4-BE49-F238E27FC236}">
                <a16:creationId xmlns:a16="http://schemas.microsoft.com/office/drawing/2014/main" xmlns="" id="{A5AFDBE3-66B5-CD4C-893E-E134953F684C}"/>
              </a:ext>
            </a:extLst>
          </p:cNvPr>
          <p:cNvGraphicFramePr/>
          <p:nvPr/>
        </p:nvGraphicFramePr>
        <p:xfrm>
          <a:off x="1889341" y="5011117"/>
          <a:ext cx="6890040" cy="11895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11" name="Diagram 23">
            <a:extLst>
              <a:ext uri="{FF2B5EF4-FFF2-40B4-BE49-F238E27FC236}">
                <a16:creationId xmlns:a16="http://schemas.microsoft.com/office/drawing/2014/main" xmlns="" id="{EB2182FF-8848-7E4B-8C9C-E56091037C10}"/>
              </a:ext>
            </a:extLst>
          </p:cNvPr>
          <p:cNvGraphicFramePr/>
          <p:nvPr/>
        </p:nvGraphicFramePr>
        <p:xfrm>
          <a:off x="327189" y="3704414"/>
          <a:ext cx="6890040" cy="11895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839545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7">
            <a:extLst>
              <a:ext uri="{FF2B5EF4-FFF2-40B4-BE49-F238E27FC236}">
                <a16:creationId xmlns:a16="http://schemas.microsoft.com/office/drawing/2014/main" xmlns="" id="{BD469AF2-C7CA-4BA3-B0D3-31881150C7FD}"/>
              </a:ext>
            </a:extLst>
          </p:cNvPr>
          <p:cNvSpPr txBox="1">
            <a:spLocks/>
          </p:cNvSpPr>
          <p:nvPr/>
        </p:nvSpPr>
        <p:spPr>
          <a:xfrm>
            <a:off x="957415" y="4930"/>
            <a:ext cx="7582427" cy="1152201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l" defTabSz="89701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0383" algn="l"/>
              </a:tabLst>
              <a:defRPr sz="2000" b="0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8000"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6095"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4154"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32209"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GB" sz="4000" kern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apacity building on human rights </a:t>
            </a:r>
          </a:p>
          <a:p>
            <a:pPr algn="ctr"/>
            <a:r>
              <a:rPr lang="en-GB" sz="4000" kern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 mental health</a:t>
            </a:r>
            <a:endParaRPr lang="en-US" sz="4000" kern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xmlns="" id="{875A3130-6F50-EC40-91DE-7E4F98A198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4400" y="-14289"/>
            <a:ext cx="9180000" cy="1260000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76200" dir="5400000" algn="ctr" rotWithShape="0">
              <a:schemeClr val="tx1">
                <a:alpha val="40000"/>
              </a:schemeClr>
            </a:outerShdw>
          </a:effectLst>
        </p:spPr>
        <p:txBody>
          <a:bodyPr wrap="square" tIns="108000" rIns="720000" bIns="216000" anchor="ctr" anchorCtr="0">
            <a:no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800" b="1" dirty="0">
                <a:solidFill>
                  <a:schemeClr val="bg1"/>
                </a:solidFill>
                <a:latin typeface="Ebrima"/>
                <a:ea typeface="+mj-ea"/>
                <a:cs typeface="+mj-cs"/>
              </a:rPr>
              <a:t>Benefits for stakeholders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xmlns="" id="{830CCECF-C211-BC4C-8EDE-20D5759F27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2888" cy="107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  <p:sp>
        <p:nvSpPr>
          <p:cNvPr id="8" name="Rectangle 3">
            <a:extLst>
              <a:ext uri="{FF2B5EF4-FFF2-40B4-BE49-F238E27FC236}">
                <a16:creationId xmlns:a16="http://schemas.microsoft.com/office/drawing/2014/main" xmlns="" id="{89D1123F-CAC6-214D-B626-494F8878F6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6304" y="1808675"/>
            <a:ext cx="3852001" cy="44529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038" indent="-192451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8000" indent="-262431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5510" indent="-155866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r>
              <a:rPr lang="en-US" altLang="zh-CN" sz="2200" kern="1200" dirty="0">
                <a:ea typeface="+mn-ea"/>
                <a:cs typeface="+mn-cs"/>
              </a:rPr>
              <a:t>Health </a:t>
            </a:r>
            <a:r>
              <a:rPr lang="en-US" altLang="zh-CN" sz="2200" dirty="0"/>
              <a:t>and social care providers </a:t>
            </a:r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endParaRPr lang="en-US" altLang="zh-CN" sz="2200" dirty="0"/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endParaRPr lang="en-US" altLang="zh-CN" sz="2200" dirty="0"/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r>
              <a:rPr lang="en-US" altLang="zh-CN" sz="2200" dirty="0"/>
              <a:t>Policy makers </a:t>
            </a:r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endParaRPr lang="en-US" altLang="zh-CN" sz="2200" dirty="0"/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endParaRPr lang="en-US" altLang="zh-CN" sz="2200" dirty="0"/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endParaRPr lang="en-US" altLang="zh-CN" sz="2200" dirty="0"/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r>
              <a:rPr lang="en-US" altLang="zh-CN" sz="2200" dirty="0"/>
              <a:t>OPD’s, NGOS and other community organizations </a:t>
            </a:r>
          </a:p>
          <a:p>
            <a:pPr marL="342900" lvl="1" indent="-342900" defTabSz="457200">
              <a:lnSpc>
                <a:spcPct val="80000"/>
              </a:lnSpc>
              <a:buClr>
                <a:srgbClr val="004A99"/>
              </a:buClr>
              <a:buSzPct val="120000"/>
              <a:defRPr/>
            </a:pPr>
            <a:endParaRPr lang="en-US" altLang="zh-CN" sz="2200" dirty="0"/>
          </a:p>
          <a:p>
            <a:pPr marL="342900" lvl="1" indent="-342900" defTabSz="457200">
              <a:lnSpc>
                <a:spcPct val="80000"/>
              </a:lnSpc>
              <a:buClr>
                <a:srgbClr val="004A99"/>
              </a:buClr>
              <a:buSzPct val="120000"/>
              <a:defRPr/>
            </a:pPr>
            <a:endParaRPr lang="en-US" altLang="zh-CN" sz="2200" dirty="0"/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r>
              <a:rPr lang="en-US" altLang="zh-CN" sz="2200" dirty="0"/>
              <a:t>Families, </a:t>
            </a:r>
            <a:r>
              <a:rPr lang="en-US" altLang="zh-CN" sz="2200" dirty="0" err="1"/>
              <a:t>carers</a:t>
            </a:r>
            <a:r>
              <a:rPr lang="en-US" altLang="zh-CN" sz="2200" dirty="0"/>
              <a:t>, supporters, </a:t>
            </a:r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r>
              <a:rPr lang="en-US" altLang="zh-CN" sz="2200" dirty="0"/>
              <a:t>and others </a:t>
            </a:r>
          </a:p>
          <a:p>
            <a:pPr marL="342900" lvl="1" indent="-342900" defTabSz="457200">
              <a:lnSpc>
                <a:spcPct val="80000"/>
              </a:lnSpc>
              <a:buClr>
                <a:srgbClr val="004A99"/>
              </a:buClr>
              <a:buSzPct val="120000"/>
              <a:defRPr/>
            </a:pPr>
            <a:endParaRPr lang="en-US" altLang="zh-CN" sz="2200" dirty="0"/>
          </a:p>
          <a:p>
            <a:pPr marL="342900" lvl="1" indent="-342900" defTabSz="457200">
              <a:lnSpc>
                <a:spcPct val="80000"/>
              </a:lnSpc>
              <a:buClr>
                <a:srgbClr val="004A99"/>
              </a:buClr>
              <a:buSzPct val="120000"/>
              <a:defRPr/>
            </a:pPr>
            <a:endParaRPr lang="en-US" altLang="zh-CN" sz="2200" dirty="0"/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r>
              <a:rPr lang="en-US" altLang="zh-CN" sz="2200" dirty="0"/>
              <a:t>People with lived experience </a:t>
            </a:r>
            <a:endParaRPr lang="en-US" altLang="zh-CN" sz="2200" kern="1200" dirty="0">
              <a:ea typeface="+mn-ea"/>
              <a:cs typeface="+mn-cs"/>
            </a:endParaRPr>
          </a:p>
          <a:p>
            <a:pPr marL="342900" lvl="1" indent="-342900" defTabSz="457200">
              <a:lnSpc>
                <a:spcPct val="80000"/>
              </a:lnSpc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  <a:defRPr/>
            </a:pPr>
            <a:endParaRPr lang="en-US" altLang="zh-CN" sz="2400" kern="1200" dirty="0">
              <a:ea typeface="+mn-ea"/>
              <a:cs typeface="+mn-cs"/>
            </a:endParaRPr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endParaRPr lang="en-US" altLang="zh-CN" sz="2400" kern="1200" dirty="0">
              <a:ea typeface="+mn-ea"/>
              <a:cs typeface="+mn-cs"/>
            </a:endParaRPr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endParaRPr lang="en-US" altLang="zh-CN" sz="2400" kern="1200" dirty="0">
              <a:ea typeface="+mn-ea"/>
              <a:cs typeface="+mn-cs"/>
              <a:sym typeface="Wingdings" pitchFamily="2" charset="2"/>
            </a:endParaRPr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endParaRPr lang="en-US" altLang="zh-CN" sz="2400" dirty="0">
              <a:sym typeface="Wingdings" pitchFamily="2" charset="2"/>
            </a:endParaRPr>
          </a:p>
          <a:p>
            <a:pPr marL="342900" lvl="1" indent="-342900" defTabSz="457200">
              <a:lnSpc>
                <a:spcPct val="80000"/>
              </a:lnSpc>
              <a:buClr>
                <a:srgbClr val="004A99"/>
              </a:buClr>
              <a:buSzPct val="120000"/>
              <a:defRPr/>
            </a:pPr>
            <a:endParaRPr lang="en-US" altLang="zh-CN" sz="2000" kern="1200" dirty="0">
              <a:ea typeface="+mn-ea"/>
              <a:cs typeface="+mn-cs"/>
              <a:sym typeface="Wingdings" pitchFamily="2" charset="2"/>
            </a:endParaRPr>
          </a:p>
          <a:p>
            <a:pPr marL="342900" lvl="1" indent="-342900" defTabSz="457200">
              <a:lnSpc>
                <a:spcPct val="80000"/>
              </a:lnSpc>
              <a:buClr>
                <a:srgbClr val="004A99"/>
              </a:buClr>
              <a:buSzPct val="120000"/>
              <a:defRPr/>
            </a:pPr>
            <a:endParaRPr lang="en-US" altLang="zh-CN" sz="2000" kern="1200" dirty="0">
              <a:ea typeface="+mn-ea"/>
              <a:cs typeface="+mn-cs"/>
              <a:sym typeface="Wingdings" pitchFamily="2" charset="2"/>
            </a:endParaRPr>
          </a:p>
          <a:p>
            <a:pPr marL="342900" lvl="1" indent="-342900" defTabSz="457200">
              <a:lnSpc>
                <a:spcPct val="80000"/>
              </a:lnSpc>
              <a:buClr>
                <a:srgbClr val="004A99"/>
              </a:buClr>
              <a:buSzPct val="120000"/>
              <a:defRPr/>
            </a:pPr>
            <a:endParaRPr lang="en-US" altLang="zh-CN" sz="2000" kern="1200" dirty="0">
              <a:ea typeface="+mn-ea"/>
              <a:cs typeface="+mn-cs"/>
            </a:endParaRPr>
          </a:p>
          <a:p>
            <a:pPr marL="285750" indent="-285750" defTabSz="457200">
              <a:lnSpc>
                <a:spcPct val="80000"/>
              </a:lnSpc>
              <a:buClr>
                <a:srgbClr val="FF0000"/>
              </a:buClr>
              <a:defRPr/>
            </a:pPr>
            <a:endParaRPr lang="en-US" altLang="zh-CN" sz="2400" kern="0" dirty="0">
              <a:solidFill>
                <a:srgbClr val="0070C0"/>
              </a:solidFill>
              <a:latin typeface="Ebrima"/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xmlns="" id="{84870099-2ECE-894B-B9E3-83B9BA1827F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79057" y="1808675"/>
            <a:ext cx="4208623" cy="48591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038" indent="-192451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8000" indent="-262431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5510" indent="-155866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r>
              <a:rPr lang="en-US" altLang="zh-CN" sz="2200" kern="1200" dirty="0">
                <a:ea typeface="+mn-ea"/>
                <a:cs typeface="+mn-cs"/>
              </a:rPr>
              <a:t>Better treatment, care </a:t>
            </a:r>
            <a:r>
              <a:rPr lang="en-US" altLang="zh-CN" sz="2200" dirty="0"/>
              <a:t>and</a:t>
            </a:r>
            <a:r>
              <a:rPr lang="en-US" altLang="zh-CN" sz="2200" kern="1200" dirty="0">
                <a:ea typeface="+mn-ea"/>
                <a:cs typeface="+mn-cs"/>
              </a:rPr>
              <a:t> support</a:t>
            </a:r>
            <a:endParaRPr lang="en-US" altLang="zh-CN" sz="2200" dirty="0"/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endParaRPr lang="en-US" altLang="zh-CN" sz="2200" dirty="0"/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endParaRPr lang="en-US" altLang="zh-CN" sz="2200" dirty="0"/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r>
              <a:rPr lang="en-US" altLang="zh-CN" sz="2200" dirty="0"/>
              <a:t>Policies that better respond to peoples’ needs, dignity and rights</a:t>
            </a:r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endParaRPr lang="en-US" altLang="zh-CN" sz="2200" dirty="0"/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endParaRPr lang="en-US" altLang="zh-CN" sz="2200" dirty="0"/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r>
              <a:rPr lang="en-US" altLang="zh-CN" sz="2200" dirty="0"/>
              <a:t>Support mental health of marginalized individuals and groups</a:t>
            </a:r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endParaRPr lang="en-US" altLang="zh-CN" sz="2200" dirty="0"/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endParaRPr lang="en-US" altLang="zh-CN" sz="2200" dirty="0"/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r>
              <a:rPr lang="en-US" altLang="zh-CN" sz="2200" dirty="0"/>
              <a:t>Support people in distress in a way that respects dignity and autonomy</a:t>
            </a:r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endParaRPr lang="en-US" altLang="zh-CN" sz="2200" dirty="0"/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endParaRPr lang="en-US" altLang="zh-CN" sz="2200" dirty="0"/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r>
              <a:rPr lang="en-US" altLang="zh-CN" sz="2200" dirty="0"/>
              <a:t>Learn about rights, pathways to recovery and contribute to policy</a:t>
            </a:r>
            <a:endParaRPr lang="en-US" altLang="zh-CN" sz="2200" kern="1200" dirty="0">
              <a:ea typeface="+mn-ea"/>
              <a:cs typeface="+mn-cs"/>
            </a:endParaRPr>
          </a:p>
        </p:txBody>
      </p:sp>
      <p:cxnSp>
        <p:nvCxnSpPr>
          <p:cNvPr id="3" name="Gerade Verbindung mit Pfeil 2">
            <a:extLst>
              <a:ext uri="{FF2B5EF4-FFF2-40B4-BE49-F238E27FC236}">
                <a16:creationId xmlns:a16="http://schemas.microsoft.com/office/drawing/2014/main" xmlns="" id="{F94A078D-0A1B-2446-92CD-78A850528DCF}"/>
              </a:ext>
            </a:extLst>
          </p:cNvPr>
          <p:cNvCxnSpPr/>
          <p:nvPr/>
        </p:nvCxnSpPr>
        <p:spPr>
          <a:xfrm>
            <a:off x="3961250" y="1953120"/>
            <a:ext cx="564255" cy="0"/>
          </a:xfrm>
          <a:prstGeom prst="straightConnector1">
            <a:avLst/>
          </a:prstGeom>
          <a:ln w="50800">
            <a:solidFill>
              <a:schemeClr val="accent2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xmlns="" id="{3EE69C48-7721-6443-B8DC-D34D25103111}"/>
              </a:ext>
            </a:extLst>
          </p:cNvPr>
          <p:cNvCxnSpPr>
            <a:cxnSpLocks/>
          </p:cNvCxnSpPr>
          <p:nvPr/>
        </p:nvCxnSpPr>
        <p:spPr>
          <a:xfrm>
            <a:off x="2021379" y="2802034"/>
            <a:ext cx="2550621" cy="0"/>
          </a:xfrm>
          <a:prstGeom prst="straightConnector1">
            <a:avLst/>
          </a:prstGeom>
          <a:ln w="50800">
            <a:solidFill>
              <a:schemeClr val="accent2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xmlns="" id="{7968FF5B-BD90-9343-8DF2-2E5053F4802C}"/>
              </a:ext>
            </a:extLst>
          </p:cNvPr>
          <p:cNvCxnSpPr>
            <a:cxnSpLocks/>
          </p:cNvCxnSpPr>
          <p:nvPr/>
        </p:nvCxnSpPr>
        <p:spPr>
          <a:xfrm>
            <a:off x="3209582" y="3820605"/>
            <a:ext cx="1123194" cy="0"/>
          </a:xfrm>
          <a:prstGeom prst="straightConnector1">
            <a:avLst/>
          </a:prstGeom>
          <a:ln w="50800">
            <a:solidFill>
              <a:schemeClr val="accent2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xmlns="" id="{CA2EEB9F-36B0-5B45-9AF9-912DDF210113}"/>
              </a:ext>
            </a:extLst>
          </p:cNvPr>
          <p:cNvCxnSpPr>
            <a:cxnSpLocks/>
          </p:cNvCxnSpPr>
          <p:nvPr/>
        </p:nvCxnSpPr>
        <p:spPr>
          <a:xfrm>
            <a:off x="3518115" y="4665514"/>
            <a:ext cx="1007390" cy="0"/>
          </a:xfrm>
          <a:prstGeom prst="straightConnector1">
            <a:avLst/>
          </a:prstGeom>
          <a:ln w="50800">
            <a:solidFill>
              <a:schemeClr val="accent2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xmlns="" id="{0A24334C-5179-F54F-BDFF-EDF4BBEFF62C}"/>
              </a:ext>
            </a:extLst>
          </p:cNvPr>
          <p:cNvCxnSpPr>
            <a:cxnSpLocks/>
          </p:cNvCxnSpPr>
          <p:nvPr/>
        </p:nvCxnSpPr>
        <p:spPr>
          <a:xfrm>
            <a:off x="3667357" y="5715671"/>
            <a:ext cx="858148" cy="0"/>
          </a:xfrm>
          <a:prstGeom prst="straightConnector1">
            <a:avLst/>
          </a:prstGeom>
          <a:ln w="50800">
            <a:solidFill>
              <a:schemeClr val="accent2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7761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1C244D0C-C44F-402A-ADFA-4D5983852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4B3278-631C-41C2-AF33-9CD77602E6D6}" type="slidenum">
              <a:rPr lang="en-GB" smtClean="0"/>
              <a:t>14</a:t>
            </a:fld>
            <a:endParaRPr lang="en-GB"/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xmlns="" id="{53CEED83-3F81-79E8-4302-BF9932DA7B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4400" y="-14289"/>
            <a:ext cx="9180000" cy="1260000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76200" dir="5400000" algn="ctr" rotWithShape="0">
              <a:schemeClr val="tx1">
                <a:alpha val="40000"/>
              </a:schemeClr>
            </a:outerShdw>
          </a:effectLst>
        </p:spPr>
        <p:txBody>
          <a:bodyPr wrap="square" tIns="108000" rIns="720000" bIns="216000" anchor="ctr" anchorCtr="0">
            <a:no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400" b="1" dirty="0">
                <a:solidFill>
                  <a:schemeClr val="bg1"/>
                </a:solidFill>
                <a:latin typeface="Ebrima"/>
              </a:rPr>
              <a:t>Creating rights-based community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400" b="1" dirty="0">
                <a:solidFill>
                  <a:schemeClr val="bg1"/>
                </a:solidFill>
                <a:latin typeface="Ebrima"/>
              </a:rPr>
              <a:t>mental health services</a:t>
            </a:r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xmlns="" id="{5FF80787-11F5-4C21-92AF-0CC8F1056A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2888" cy="107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  <p:sp>
        <p:nvSpPr>
          <p:cNvPr id="10" name="TextBox 1">
            <a:extLst>
              <a:ext uri="{FF2B5EF4-FFF2-40B4-BE49-F238E27FC236}">
                <a16:creationId xmlns:a16="http://schemas.microsoft.com/office/drawing/2014/main" xmlns="" id="{79423398-B4FE-F9F8-29EC-0ECB2F40B15F}"/>
              </a:ext>
            </a:extLst>
          </p:cNvPr>
          <p:cNvSpPr txBox="1"/>
          <p:nvPr/>
        </p:nvSpPr>
        <p:spPr>
          <a:xfrm>
            <a:off x="720000" y="1742848"/>
            <a:ext cx="7583741" cy="334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tabLst>
                <a:tab pos="228600" algn="l"/>
              </a:tabLst>
            </a:pPr>
            <a:r>
              <a:rPr lang="en-US" sz="2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munity based services based on the social and human rights models of disability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itchFamily="2" charset="2"/>
              <a:buChar char="Ø"/>
              <a:tabLst>
                <a:tab pos="228600" algn="l"/>
              </a:tabLst>
            </a:pPr>
            <a:r>
              <a:rPr lang="en-US" sz="2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listic services that consider people in the context of their whole lives &amp; address social determinants of mental health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itchFamily="2" charset="2"/>
              <a:buChar char="Ø"/>
              <a:tabLst>
                <a:tab pos="228600" algn="l"/>
              </a:tabLst>
            </a:pPr>
            <a:r>
              <a:rPr lang="en-US" sz="2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cess to the full range of services &amp; supports necessary to promote community inclusion and prevent isolation &amp; segregation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itchFamily="2" charset="2"/>
              <a:buChar char="Ø"/>
              <a:tabLst>
                <a:tab pos="228600" algn="l"/>
              </a:tabLst>
            </a:pPr>
            <a:r>
              <a:rPr lang="en-US" sz="2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vices free from coercion &amp; that promote legal capacity</a:t>
            </a:r>
          </a:p>
        </p:txBody>
      </p:sp>
    </p:spTree>
    <p:extLst>
      <p:ext uri="{BB962C8B-B14F-4D97-AF65-F5344CB8AC3E}">
        <p14:creationId xmlns:p14="http://schemas.microsoft.com/office/powerpoint/2010/main" val="16754117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56CFF026-366B-42EF-9869-65B3E260F7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2293" y="2732168"/>
            <a:ext cx="1976401" cy="2746300"/>
          </a:xfrm>
          <a:prstGeom prst="rect">
            <a:avLst/>
          </a:prstGeom>
          <a:ln w="3175">
            <a:solidFill>
              <a:sysClr val="windowText" lastClr="000000"/>
            </a:solidFill>
          </a:ln>
          <a:effectLst>
            <a:outerShdw blurRad="101600" dist="38100" dir="2700000" sx="102000" sy="102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567A7BE3-B501-45E2-94A3-FB2FD4F00A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7394" y="1976091"/>
            <a:ext cx="1441802" cy="1977103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965ACF33-A429-4856-85D8-B28C9278CE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58407" y="1976290"/>
            <a:ext cx="1399796" cy="1976904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33E2B0E0-A901-40DB-A475-EF0DCAAAEF0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18468" y="1959611"/>
            <a:ext cx="1403357" cy="1976904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3F3D7DCA-E022-4E87-90A5-BD7F4AB221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31652" y="4214813"/>
            <a:ext cx="1408544" cy="1976904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18F9F9EB-3C4E-4DB0-BAF7-59BE21D0640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63623" y="4250432"/>
            <a:ext cx="1394369" cy="1976904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AD9EB9D1-B0D6-4E2A-AC8D-AFF742D5489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48712" y="4250432"/>
            <a:ext cx="1387517" cy="1976904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21491F6E-A9C9-4A33-B4DB-766BC18CB31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66162" y="4250432"/>
            <a:ext cx="1408544" cy="1976904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sp>
        <p:nvSpPr>
          <p:cNvPr id="23" name="Rectangle 7">
            <a:extLst>
              <a:ext uri="{FF2B5EF4-FFF2-40B4-BE49-F238E27FC236}">
                <a16:creationId xmlns:a16="http://schemas.microsoft.com/office/drawing/2014/main" xmlns="" id="{1CAD9BE7-0452-6C2E-76F2-1E3A8B0E05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4400" y="-14289"/>
            <a:ext cx="9180000" cy="1260000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76200" dir="5400000" algn="ctr" rotWithShape="0">
              <a:schemeClr val="tx1">
                <a:alpha val="40000"/>
              </a:schemeClr>
            </a:outerShdw>
          </a:effectLst>
        </p:spPr>
        <p:txBody>
          <a:bodyPr wrap="square" tIns="108000" rIns="720000" bIns="216000" anchor="ctr" anchorCtr="0">
            <a:no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brima"/>
                <a:ea typeface="+mn-ea"/>
                <a:cs typeface="Arial" charset="0"/>
              </a:rPr>
              <a:t>   </a:t>
            </a:r>
            <a:r>
              <a:rPr kumimoji="0" lang="en-US" alt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WHO Guidance on community mental health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services: 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Promoting person-</a:t>
            </a:r>
            <a:r>
              <a:rPr kumimoji="0" lang="en-US" sz="23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centred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 &amp;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rights-based approaches</a:t>
            </a:r>
          </a:p>
        </p:txBody>
      </p:sp>
      <p:pic>
        <p:nvPicPr>
          <p:cNvPr id="24" name="Picture 3">
            <a:extLst>
              <a:ext uri="{FF2B5EF4-FFF2-40B4-BE49-F238E27FC236}">
                <a16:creationId xmlns:a16="http://schemas.microsoft.com/office/drawing/2014/main" xmlns="" id="{08DC8EB2-ABE7-BD57-5112-A26D92E0C8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2888" cy="107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752594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B26894DE-BA23-4670-A18F-E7A9DAE8B5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21" name="Picture 22">
            <a:extLst>
              <a:ext uri="{FF2B5EF4-FFF2-40B4-BE49-F238E27FC236}">
                <a16:creationId xmlns:a16="http://schemas.microsoft.com/office/drawing/2014/main" xmlns="" id="{7619C78E-F3D9-150C-7F59-26ADB1BFBD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4565" y="104984"/>
            <a:ext cx="1497980" cy="2054139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pic>
        <p:nvPicPr>
          <p:cNvPr id="22" name="Picture 23">
            <a:extLst>
              <a:ext uri="{FF2B5EF4-FFF2-40B4-BE49-F238E27FC236}">
                <a16:creationId xmlns:a16="http://schemas.microsoft.com/office/drawing/2014/main" xmlns="" id="{11370472-8155-9BFD-FA6B-BC69C953C1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77502" y="134692"/>
            <a:ext cx="1454483" cy="2054139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pic>
        <p:nvPicPr>
          <p:cNvPr id="23" name="Picture 24">
            <a:extLst>
              <a:ext uri="{FF2B5EF4-FFF2-40B4-BE49-F238E27FC236}">
                <a16:creationId xmlns:a16="http://schemas.microsoft.com/office/drawing/2014/main" xmlns="" id="{D0E19FE1-9C3C-13E3-6EFF-369AD66308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93814" y="134692"/>
            <a:ext cx="1458185" cy="2054139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pic>
        <p:nvPicPr>
          <p:cNvPr id="24" name="Picture 25">
            <a:extLst>
              <a:ext uri="{FF2B5EF4-FFF2-40B4-BE49-F238E27FC236}">
                <a16:creationId xmlns:a16="http://schemas.microsoft.com/office/drawing/2014/main" xmlns="" id="{F796B353-2648-A8A8-E15B-C8BB0573922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91678" y="149533"/>
            <a:ext cx="1431834" cy="2009590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pic>
        <p:nvPicPr>
          <p:cNvPr id="25" name="Picture 27">
            <a:extLst>
              <a:ext uri="{FF2B5EF4-FFF2-40B4-BE49-F238E27FC236}">
                <a16:creationId xmlns:a16="http://schemas.microsoft.com/office/drawing/2014/main" xmlns="" id="{C5E0C459-5FA9-3BBD-2B41-8BCE107C71C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63191" y="141695"/>
            <a:ext cx="1431834" cy="2030021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pic>
        <p:nvPicPr>
          <p:cNvPr id="26" name="Picture 28">
            <a:extLst>
              <a:ext uri="{FF2B5EF4-FFF2-40B4-BE49-F238E27FC236}">
                <a16:creationId xmlns:a16="http://schemas.microsoft.com/office/drawing/2014/main" xmlns="" id="{92823680-6A6B-07D7-581B-4BB5EB389D5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9663" y="4570012"/>
            <a:ext cx="1492081" cy="2125884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pic>
        <p:nvPicPr>
          <p:cNvPr id="27" name="Picture 29">
            <a:extLst>
              <a:ext uri="{FF2B5EF4-FFF2-40B4-BE49-F238E27FC236}">
                <a16:creationId xmlns:a16="http://schemas.microsoft.com/office/drawing/2014/main" xmlns="" id="{F92DEC73-ABF4-B77E-644E-8A8A4479BF4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12222" y="4582583"/>
            <a:ext cx="1514692" cy="2125884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50800" dir="2700000" sx="101000" sy="101000" algn="ctr" rotWithShape="0">
              <a:prstClr val="black">
                <a:alpha val="41000"/>
              </a:prstClr>
            </a:outerShdw>
          </a:effectLst>
        </p:spPr>
      </p:pic>
      <p:sp>
        <p:nvSpPr>
          <p:cNvPr id="28" name="TextBox 2">
            <a:extLst>
              <a:ext uri="{FF2B5EF4-FFF2-40B4-BE49-F238E27FC236}">
                <a16:creationId xmlns:a16="http://schemas.microsoft.com/office/drawing/2014/main" xmlns="" id="{6EF1489C-5748-AA82-98CD-F3404DDA8913}"/>
              </a:ext>
            </a:extLst>
          </p:cNvPr>
          <p:cNvSpPr txBox="1"/>
          <p:nvPr/>
        </p:nvSpPr>
        <p:spPr>
          <a:xfrm>
            <a:off x="209138" y="2389954"/>
            <a:ext cx="163013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iya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ouse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A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nk House, 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K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n Dialogu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Finland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pu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ke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Z</a:t>
            </a:r>
          </a:p>
        </p:txBody>
      </p:sp>
      <p:sp>
        <p:nvSpPr>
          <p:cNvPr id="29" name="TextBox 3">
            <a:extLst>
              <a:ext uri="{FF2B5EF4-FFF2-40B4-BE49-F238E27FC236}">
                <a16:creationId xmlns:a16="http://schemas.microsoft.com/office/drawing/2014/main" xmlns="" id="{AA9F542F-0C73-EF3E-7DB4-595E2DCF86E5}"/>
              </a:ext>
            </a:extLst>
          </p:cNvPr>
          <p:cNvSpPr txBox="1"/>
          <p:nvPr/>
        </p:nvSpPr>
        <p:spPr>
          <a:xfrm>
            <a:off x="2036444" y="2389954"/>
            <a:ext cx="1796343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T Unit,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aksta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ospita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Norway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inike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andkreis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idenhei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Germany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teria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ern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Switzerland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Box 4">
            <a:extLst>
              <a:ext uri="{FF2B5EF4-FFF2-40B4-BE49-F238E27FC236}">
                <a16:creationId xmlns:a16="http://schemas.microsoft.com/office/drawing/2014/main" xmlns="" id="{C8067902-9AA1-25E3-27EF-43228555E523}"/>
              </a:ext>
            </a:extLst>
          </p:cNvPr>
          <p:cNvSpPr txBox="1"/>
          <p:nvPr/>
        </p:nvSpPr>
        <p:spPr>
          <a:xfrm>
            <a:off x="3871180" y="2362615"/>
            <a:ext cx="163233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PS III –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asilândia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razil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ng Clinic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Myanmar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oenix Clubhous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China,  Hong Kong SAR</a:t>
            </a:r>
          </a:p>
        </p:txBody>
      </p:sp>
      <p:sp>
        <p:nvSpPr>
          <p:cNvPr id="31" name="TextBox 5">
            <a:extLst>
              <a:ext uri="{FF2B5EF4-FFF2-40B4-BE49-F238E27FC236}">
                <a16:creationId xmlns:a16="http://schemas.microsoft.com/office/drawing/2014/main" xmlns="" id="{750E13DF-F041-FB49-A1A6-1963DE2FB348}"/>
              </a:ext>
            </a:extLst>
          </p:cNvPr>
          <p:cNvSpPr txBox="1"/>
          <p:nvPr/>
        </p:nvSpPr>
        <p:spPr>
          <a:xfrm>
            <a:off x="5599488" y="2377361"/>
            <a:ext cx="1863703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Calibri" panose="020F0502020204030204" pitchFamily="34" charset="0"/>
              <a:buChar char="−"/>
              <a:defRPr>
                <a:latin typeface="+mn-lt"/>
              </a:defRPr>
            </a:lvl1pPr>
          </a:lstStyle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ring Voices support groups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irobi Mind Empowerment Peer Support Group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Kenya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er Support South East Ontari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Canada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Box 10">
            <a:extLst>
              <a:ext uri="{FF2B5EF4-FFF2-40B4-BE49-F238E27FC236}">
                <a16:creationId xmlns:a16="http://schemas.microsoft.com/office/drawing/2014/main" xmlns="" id="{4C6B3D71-DB03-A6EB-10C2-4F575C4864E1}"/>
              </a:ext>
            </a:extLst>
          </p:cNvPr>
          <p:cNvSpPr txBox="1"/>
          <p:nvPr/>
        </p:nvSpPr>
        <p:spPr>
          <a:xfrm>
            <a:off x="7423768" y="2389954"/>
            <a:ext cx="1630132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Calibri" panose="020F0502020204030204" pitchFamily="34" charset="0"/>
              <a:buChar char="−"/>
              <a:defRPr sz="1400" b="1">
                <a:latin typeface="+mn-lt"/>
              </a:defRPr>
            </a:lvl1pPr>
          </a:lstStyle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miyata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a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iendship Bench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imbabwe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me Focus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relan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ya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ur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a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onal Ombudsman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weden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TextBox 11">
            <a:extLst>
              <a:ext uri="{FF2B5EF4-FFF2-40B4-BE49-F238E27FC236}">
                <a16:creationId xmlns:a16="http://schemas.microsoft.com/office/drawing/2014/main" xmlns="" id="{8BF6132C-D599-8387-D220-24FD8F9DD7C2}"/>
              </a:ext>
            </a:extLst>
          </p:cNvPr>
          <p:cNvSpPr txBox="1"/>
          <p:nvPr/>
        </p:nvSpPr>
        <p:spPr>
          <a:xfrm>
            <a:off x="2344355" y="4677141"/>
            <a:ext cx="176980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Calibri" panose="020F0502020204030204" pitchFamily="34" charset="0"/>
              <a:buChar char="−"/>
              <a:defRPr sz="1400" b="1">
                <a:latin typeface="+mn-lt"/>
              </a:defRPr>
            </a:lvl1pPr>
          </a:lstStyle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nd in Hand supported living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orgia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me Again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a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Ring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iving Support Networks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ared Lives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K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Box 12">
            <a:extLst>
              <a:ext uri="{FF2B5EF4-FFF2-40B4-BE49-F238E27FC236}">
                <a16:creationId xmlns:a16="http://schemas.microsoft.com/office/drawing/2014/main" xmlns="" id="{0BC22E62-4C29-9EB5-AE27-EA7BA1148509}"/>
              </a:ext>
            </a:extLst>
          </p:cNvPr>
          <p:cNvSpPr txBox="1"/>
          <p:nvPr/>
        </p:nvSpPr>
        <p:spPr>
          <a:xfrm>
            <a:off x="6111771" y="4892585"/>
            <a:ext cx="201897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Font typeface="Calibri" panose="020F0502020204030204" pitchFamily="34" charset="0"/>
              <a:buChar char="−"/>
              <a:defRPr sz="1400" b="1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tal health networks: 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mpinas, Brazil	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ast Lille, France 	 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ieste, Italy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u 	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snia &amp; Herzegovina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banon</a:t>
            </a:r>
          </a:p>
        </p:txBody>
      </p:sp>
    </p:spTree>
    <p:extLst>
      <p:ext uri="{BB962C8B-B14F-4D97-AF65-F5344CB8AC3E}">
        <p14:creationId xmlns:p14="http://schemas.microsoft.com/office/powerpoint/2010/main" val="4509973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7">
            <a:extLst>
              <a:ext uri="{FF2B5EF4-FFF2-40B4-BE49-F238E27FC236}">
                <a16:creationId xmlns:a16="http://schemas.microsoft.com/office/drawing/2014/main" xmlns="" id="{DE3F9E9E-76B2-4C6B-AFEC-93B594FB1DB0}"/>
              </a:ext>
            </a:extLst>
          </p:cNvPr>
          <p:cNvSpPr txBox="1">
            <a:spLocks/>
          </p:cNvSpPr>
          <p:nvPr/>
        </p:nvSpPr>
        <p:spPr bwMode="auto">
          <a:xfrm>
            <a:off x="2088450" y="159329"/>
            <a:ext cx="5437760" cy="648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89701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0383" algn="l"/>
              </a:tabLst>
              <a:defRPr sz="2000" b="0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8000"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6095"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4154"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32209"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GB" sz="4000" kern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Rights based law reform</a:t>
            </a:r>
          </a:p>
          <a:p>
            <a:pPr algn="ctr"/>
            <a:endParaRPr lang="en-US" sz="2250" kern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39F53F70-C561-45E3-8D5A-1ADE44DD3E88}"/>
              </a:ext>
            </a:extLst>
          </p:cNvPr>
          <p:cNvSpPr txBox="1"/>
          <p:nvPr/>
        </p:nvSpPr>
        <p:spPr>
          <a:xfrm>
            <a:off x="292100" y="1250018"/>
            <a:ext cx="8737600" cy="50138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tIns="90000" bIns="90000">
            <a:spAutoFit/>
          </a:bodyPr>
          <a:lstStyle/>
          <a:p>
            <a:pPr marL="342900" indent="-342900">
              <a:spcAft>
                <a:spcPts val="1200"/>
              </a:spcAft>
              <a:buClr>
                <a:srgbClr val="004A99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2000" b="1" dirty="0">
                <a:latin typeface="+mn-lt"/>
                <a:cs typeface="Times New Roman" panose="02020603050405020304" pitchFamily="18" charset="0"/>
              </a:rPr>
              <a:t>Each selected service has embraced the paradigm shift from a biomedical model focused on symptom reduction to a rights-based approach </a:t>
            </a:r>
          </a:p>
          <a:p>
            <a:pPr marL="342900" indent="-342900">
              <a:spcAft>
                <a:spcPts val="1200"/>
              </a:spcAft>
              <a:buClr>
                <a:srgbClr val="004A99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2000" b="1" dirty="0">
                <a:latin typeface="+mn-lt"/>
                <a:cs typeface="Times New Roman" panose="02020603050405020304" pitchFamily="18" charset="0"/>
              </a:rPr>
              <a:t>Services were selected according to human rights criteria relevant for mental health </a:t>
            </a:r>
            <a:endParaRPr lang="en-US" sz="2000" b="1" dirty="0">
              <a:latin typeface="+mn-lt"/>
            </a:endParaRPr>
          </a:p>
          <a:p>
            <a:pPr marL="800900" lvl="1" indent="-342900">
              <a:spcAft>
                <a:spcPts val="1200"/>
              </a:spcAft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1800" dirty="0">
                <a:latin typeface="+mn-lt"/>
              </a:rPr>
              <a:t>Respect people’s legal capacity - choice &amp; decisions in treatment, care &amp; support</a:t>
            </a:r>
          </a:p>
          <a:p>
            <a:pPr marL="800900" lvl="1" indent="-342900">
              <a:spcAft>
                <a:spcPts val="1200"/>
              </a:spcAft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1800" dirty="0">
                <a:latin typeface="+mn-lt"/>
              </a:rPr>
              <a:t>Use of strategies to end coercion – seclusion, restraint, physical, sexual &amp; emotional abuse </a:t>
            </a:r>
          </a:p>
          <a:p>
            <a:pPr marL="800900" lvl="1" indent="-342900">
              <a:spcAft>
                <a:spcPts val="1200"/>
              </a:spcAft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1800" dirty="0">
                <a:latin typeface="+mn-lt"/>
              </a:rPr>
              <a:t>Actively involve and include people in their own care &amp; in running of services</a:t>
            </a:r>
          </a:p>
          <a:p>
            <a:pPr marL="800900" lvl="1" indent="-342900">
              <a:spcAft>
                <a:spcPts val="1200"/>
              </a:spcAft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1800" dirty="0">
                <a:latin typeface="+mn-lt"/>
              </a:rPr>
              <a:t>Link people to relevant community services and supports - social protection and disability benefits, housing, employment opportunities </a:t>
            </a:r>
            <a:r>
              <a:rPr lang="en-US" sz="1800" dirty="0" err="1">
                <a:latin typeface="+mn-lt"/>
              </a:rPr>
              <a:t>etc</a:t>
            </a:r>
            <a:endParaRPr lang="en-US" sz="1800" dirty="0">
              <a:latin typeface="+mn-lt"/>
            </a:endParaRPr>
          </a:p>
          <a:p>
            <a:pPr marL="800900" lvl="1" indent="-342900">
              <a:spcAft>
                <a:spcPts val="1200"/>
              </a:spcAft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1800" dirty="0">
                <a:latin typeface="+mn-lt"/>
              </a:rPr>
              <a:t>Provide person-centered holistic care addressing relationships, work, family, and education – not just diagnosis, medication and symptom reduction</a:t>
            </a:r>
          </a:p>
          <a:p>
            <a:pPr marL="342900" indent="-342900">
              <a:spcAft>
                <a:spcPts val="1200"/>
              </a:spcAft>
              <a:buClr>
                <a:srgbClr val="004A99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2000" b="1" dirty="0">
                <a:latin typeface="+mn-lt"/>
                <a:cs typeface="Times New Roman" panose="02020603050405020304" pitchFamily="18" charset="0"/>
              </a:rPr>
              <a:t>Each service had evaluation data demonstrating acceptability &amp; effectiveness</a:t>
            </a: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xmlns="" id="{050D1DDF-E4DC-82C6-1B63-92BFD4616B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4400" y="-14289"/>
            <a:ext cx="9180000" cy="1090689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76200" dir="5400000" algn="ctr" rotWithShape="0">
              <a:schemeClr val="tx1">
                <a:alpha val="40000"/>
              </a:schemeClr>
            </a:outerShdw>
          </a:effectLst>
        </p:spPr>
        <p:txBody>
          <a:bodyPr wrap="square" tIns="108000" rIns="720000" bIns="216000" anchor="ctr" anchorCtr="0">
            <a:no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000" b="1" dirty="0">
                <a:solidFill>
                  <a:schemeClr val="bg1"/>
                </a:solidFill>
                <a:latin typeface="Ebrima"/>
              </a:rPr>
              <a:t>               </a:t>
            </a:r>
            <a:r>
              <a:rPr lang="en-US" altLang="en-US" sz="2300" b="1" dirty="0">
                <a:solidFill>
                  <a:schemeClr val="bg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WHO Guidance on community mental health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300" b="1" dirty="0">
                <a:solidFill>
                  <a:schemeClr val="bg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               Services: </a:t>
            </a:r>
            <a:r>
              <a:rPr lang="en-US" sz="2300" b="1" dirty="0">
                <a:solidFill>
                  <a:schemeClr val="bg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Common factors for good practice services</a:t>
            </a: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xmlns="" id="{ACE68F8C-E728-AD79-8E7A-5B4BECBD7E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2888" cy="107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97248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B26894DE-BA23-4670-A18F-E7A9DAE8B5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xmlns="" id="{D22D8CF3-1930-C7A8-1AE5-F66EBEBA1E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4400" y="-14289"/>
            <a:ext cx="9180000" cy="1260000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76200" dir="5400000" algn="ctr" rotWithShape="0">
              <a:schemeClr val="tx1">
                <a:alpha val="40000"/>
              </a:schemeClr>
            </a:outerShdw>
          </a:effectLst>
        </p:spPr>
        <p:txBody>
          <a:bodyPr wrap="square" tIns="108000" rIns="720000" bIns="216000" anchor="ctr" anchorCtr="0">
            <a:no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brima"/>
                <a:ea typeface="+mn-ea"/>
                <a:cs typeface="Arial" charset="0"/>
              </a:rPr>
              <a:t>WHO Guidance on rights-based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brima"/>
                <a:ea typeface="+mn-ea"/>
                <a:cs typeface="Arial" charset="0"/>
              </a:rPr>
              <a:t>community mental health services </a:t>
            </a: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xmlns="" id="{E5D99668-EC61-FCDC-661E-ECCC75859A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2888" cy="107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  <p:sp>
        <p:nvSpPr>
          <p:cNvPr id="8" name="TextBox 1">
            <a:extLst>
              <a:ext uri="{FF2B5EF4-FFF2-40B4-BE49-F238E27FC236}">
                <a16:creationId xmlns:a16="http://schemas.microsoft.com/office/drawing/2014/main" xmlns="" id="{D59826E4-9A9D-6FD1-F307-1F83F275E7C5}"/>
              </a:ext>
            </a:extLst>
          </p:cNvPr>
          <p:cNvSpPr txBox="1"/>
          <p:nvPr/>
        </p:nvSpPr>
        <p:spPr>
          <a:xfrm>
            <a:off x="720000" y="1569850"/>
            <a:ext cx="8083758" cy="55782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>
                <a:tab pos="228600" algn="l"/>
              </a:tabLst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commendation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itchFamily="2" charset="2"/>
              <a:buChar char="Ø"/>
              <a:tabLst>
                <a:tab pos="22860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Increasing funding to develop/scale up rights- based services</a:t>
            </a:r>
          </a:p>
          <a:p>
            <a:pPr marL="342900" marR="0" lvl="0" indent="-342900" algn="l" defTabSz="914400" rtl="0" eaLnBrk="1" fontAlgn="base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itchFamily="2" charset="2"/>
              <a:buChar char="Ø"/>
              <a:tabLst>
                <a:tab pos="22860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Establishing legal and policy frameworks that are comprehensive, holistic and align with human rights standards and that reflect the collaboration of all sectors</a:t>
            </a:r>
          </a:p>
          <a:p>
            <a:pPr marL="342900" marR="0" lvl="0" indent="-342900" algn="l" defTabSz="914400" rtl="0" eaLnBrk="1" fontAlgn="base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itchFamily="2" charset="2"/>
              <a:buChar char="Ø"/>
              <a:tabLst>
                <a:tab pos="22860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Establishing a comprehensive rights-based network of community mental health services that interface with a strong social sector</a:t>
            </a:r>
          </a:p>
          <a:p>
            <a:pPr marL="342900" marR="0" lvl="0" indent="-342900" algn="l" defTabSz="914400" rtl="0" eaLnBrk="1" fontAlgn="base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itchFamily="2" charset="2"/>
              <a:buChar char="Ø"/>
              <a:tabLst>
                <a:tab pos="22860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Widescale capacity building on mental health, human rights and disability for all stakeholder groups</a:t>
            </a:r>
          </a:p>
          <a:p>
            <a:pPr marL="342900" marR="0" lvl="0" indent="-342900" algn="l" defTabSz="914400" rtl="0" eaLnBrk="1" fontAlgn="base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itchFamily="2" charset="2"/>
              <a:buChar char="Ø"/>
              <a:tabLst>
                <a:tab pos="22860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Integrating training on rights, disability and person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centre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, recovery-oriented approaches in undergraduate and graduate course curricula</a:t>
            </a:r>
          </a:p>
          <a:p>
            <a:pPr marL="342900" marR="0" lvl="0" indent="-342900" algn="l" defTabSz="914400" rtl="0" eaLnBrk="1" fontAlgn="base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itchFamily="2" charset="2"/>
              <a:buChar char="Ø"/>
              <a:tabLst>
                <a:tab pos="22860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Collecting data on health and social outcomes for mental health services</a:t>
            </a:r>
          </a:p>
          <a:p>
            <a:pPr marL="342900" marR="0" lvl="0" indent="-342900" algn="l" defTabSz="914400" rtl="0" eaLnBrk="1" fontAlgn="base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itchFamily="2" charset="2"/>
              <a:buChar char="Ø"/>
              <a:tabLst>
                <a:tab pos="22860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Increasing funding for research on services using a rights-based approach</a:t>
            </a:r>
          </a:p>
          <a:p>
            <a:pPr marL="342900" marR="0" lvl="0" indent="-342900" algn="l" defTabSz="914400" rtl="0" eaLnBrk="1" fontAlgn="base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itchFamily="2" charset="2"/>
              <a:buChar char="Ø"/>
              <a:tabLst>
                <a:tab pos="22860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Engaging organizations of people with psychosocial disabilities as advisors on policy, planning, law, service development and training</a:t>
            </a:r>
          </a:p>
          <a:p>
            <a:pPr marL="342900" marR="0" lvl="0" indent="-342900" algn="l" defTabSz="914400" rtl="0" eaLnBrk="1" fontAlgn="base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Wingdings" pitchFamily="2" charset="2"/>
              <a:buChar char="Ø"/>
              <a:tabLst>
                <a:tab pos="228600" algn="l"/>
              </a:tabLst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37280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51872" y="2186805"/>
            <a:ext cx="4319230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n-GB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1" indent="-3429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plore meaning of recovery</a:t>
            </a:r>
          </a:p>
          <a:p>
            <a:pPr marL="342900" marR="0" lvl="1" indent="-3429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1" indent="-3429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velop a plan for pursuing dreams and goals</a:t>
            </a:r>
          </a:p>
          <a:p>
            <a:pPr marL="342900" marR="0" lvl="1" indent="-3429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1" indent="-3429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reate personal wellness plan</a:t>
            </a:r>
          </a:p>
          <a:p>
            <a:pPr marL="342900" marR="0" lvl="1" indent="-3429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1" indent="-3429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lanning for difficult times – response during and after a crisis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  <a:tabLst/>
              <a:defRPr/>
            </a:pPr>
            <a:endParaRPr kumimoji="0" lang="en-GB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80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itchFamily="34" charset="0"/>
              <a:ea typeface="宋体" pitchFamily="2" charset="-122"/>
              <a:cs typeface="Calibri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213ABBD1-8D3C-4C48-9CDE-AAB9E0A3AD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5490" y="1772815"/>
            <a:ext cx="3136534" cy="4452283"/>
          </a:xfrm>
          <a:prstGeom prst="rect">
            <a:avLst/>
          </a:prstGeom>
          <a:effectLst>
            <a:outerShdw blurRad="50800" dist="152400" dir="144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3">
            <a:extLst>
              <a:ext uri="{FF2B5EF4-FFF2-40B4-BE49-F238E27FC236}">
                <a16:creationId xmlns:a16="http://schemas.microsoft.com/office/drawing/2014/main" xmlns="" id="{5391D757-7042-410B-9E18-A4D111B5CA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51" y="62248"/>
            <a:ext cx="1061884" cy="8772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  <p:sp>
        <p:nvSpPr>
          <p:cNvPr id="9" name="Title 7"/>
          <p:cNvSpPr txBox="1">
            <a:spLocks/>
          </p:cNvSpPr>
          <p:nvPr/>
        </p:nvSpPr>
        <p:spPr bwMode="gray">
          <a:xfrm>
            <a:off x="1907938" y="380105"/>
            <a:ext cx="6480346" cy="761999"/>
          </a:xfrm>
          <a:prstGeom prst="rect">
            <a:avLst/>
          </a:prstGeom>
        </p:spPr>
        <p:txBody>
          <a:bodyPr vert="horz" lIns="18000" tIns="0" rIns="36000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0092CC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brima"/>
              <a:ea typeface="+mj-ea"/>
              <a:cs typeface="+mj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F88EF5EA-DA7B-DCBA-5DE9-A98D5F866B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4400" y="-14289"/>
            <a:ext cx="9180000" cy="1260000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76200" dir="5400000" algn="ctr" rotWithShape="0">
              <a:schemeClr val="tx1">
                <a:alpha val="40000"/>
              </a:schemeClr>
            </a:outerShdw>
          </a:effectLst>
        </p:spPr>
        <p:txBody>
          <a:bodyPr wrap="square" tIns="108000" rIns="720000" bIns="216000" anchor="ctr" anchorCtr="0">
            <a:no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brima"/>
                <a:ea typeface="+mn-ea"/>
                <a:cs typeface="Arial" charset="0"/>
              </a:rPr>
              <a:t>Person-</a:t>
            </a:r>
            <a:r>
              <a:rPr kumimoji="0" lang="en-US" alt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brima"/>
                <a:ea typeface="+mn-ea"/>
                <a:cs typeface="Arial" charset="0"/>
              </a:rPr>
              <a:t>centred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brima"/>
                <a:ea typeface="+mn-ea"/>
                <a:cs typeface="Arial" charset="0"/>
              </a:rPr>
              <a:t> recovery planning for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brima"/>
                <a:ea typeface="+mn-ea"/>
                <a:cs typeface="Arial" charset="0"/>
              </a:rPr>
              <a:t>mental health and well-being: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brima"/>
                <a:ea typeface="+mn-ea"/>
                <a:cs typeface="Arial" charset="0"/>
              </a:rPr>
              <a:t>A self-help tool</a:t>
            </a:r>
          </a:p>
        </p:txBody>
      </p:sp>
      <p:pic>
        <p:nvPicPr>
          <p:cNvPr id="10" name="Picture 3">
            <a:extLst>
              <a:ext uri="{FF2B5EF4-FFF2-40B4-BE49-F238E27FC236}">
                <a16:creationId xmlns:a16="http://schemas.microsoft.com/office/drawing/2014/main" xmlns="" id="{C6072EB8-75D3-56D9-F6DC-607D816D9F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2888" cy="107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29840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7">
            <a:extLst>
              <a:ext uri="{FF2B5EF4-FFF2-40B4-BE49-F238E27FC236}">
                <a16:creationId xmlns:a16="http://schemas.microsoft.com/office/drawing/2014/main" xmlns="" id="{DE3F9E9E-76B2-4C6B-AFEC-93B594FB1DB0}"/>
              </a:ext>
            </a:extLst>
          </p:cNvPr>
          <p:cNvSpPr txBox="1">
            <a:spLocks/>
          </p:cNvSpPr>
          <p:nvPr/>
        </p:nvSpPr>
        <p:spPr bwMode="auto">
          <a:xfrm>
            <a:off x="2088450" y="159329"/>
            <a:ext cx="5437760" cy="648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89701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0383" algn="l"/>
              </a:tabLst>
              <a:defRPr sz="2000" b="0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8000"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6095"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4154"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32209"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GB" sz="4000" kern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Rights based law reform</a:t>
            </a:r>
          </a:p>
          <a:p>
            <a:pPr algn="ctr"/>
            <a:endParaRPr lang="en-US" sz="2250" kern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39F53F70-C561-45E3-8D5A-1ADE44DD3E88}"/>
              </a:ext>
            </a:extLst>
          </p:cNvPr>
          <p:cNvSpPr txBox="1"/>
          <p:nvPr/>
        </p:nvSpPr>
        <p:spPr>
          <a:xfrm>
            <a:off x="651444" y="1774350"/>
            <a:ext cx="7881075" cy="405974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tIns="90000" bIns="90000">
            <a:sp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GB" sz="2200" b="1" dirty="0">
                <a:latin typeface="+mn-lt"/>
              </a:rPr>
              <a:t>Pressing issues to address: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In</a:t>
            </a:r>
            <a:r>
              <a:rPr lang="en-GB" sz="20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stitutionalisation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Use of coercive practices, violence, abuse and neglect 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</a:t>
            </a:r>
            <a:r>
              <a:rPr lang="en-GB" sz="20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enial of peoples’ legal capacity and right to decide over their own treatment and other key elements of their lives 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</a:t>
            </a:r>
            <a:r>
              <a:rPr lang="en-GB" sz="20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isempowerment that many people experience within the mental health system 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Over emphasis on the diagnosis and use of medication to manage symptoms rather than taking a holistic person-centred rights-based approach to treatment and care</a:t>
            </a:r>
            <a:endParaRPr lang="en-US" sz="20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xmlns="" id="{0B5DBBCE-5E14-70FB-8267-C69B97C1A1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4400" y="-14289"/>
            <a:ext cx="9180000" cy="1260000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76200" dir="5400000" algn="ctr" rotWithShape="0">
              <a:schemeClr val="tx1">
                <a:alpha val="40000"/>
              </a:schemeClr>
            </a:outerShdw>
          </a:effectLst>
        </p:spPr>
        <p:txBody>
          <a:bodyPr wrap="square" tIns="108000" rIns="720000" bIns="216000" anchor="ctr" anchorCtr="0">
            <a:no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None/>
            </a:pPr>
            <a:endParaRPr lang="en-US" altLang="en-US" sz="2000" b="1" dirty="0">
              <a:solidFill>
                <a:schemeClr val="bg1"/>
              </a:solidFill>
              <a:latin typeface="Ebrima"/>
            </a:endParaRPr>
          </a:p>
          <a:p>
            <a:pPr algn="ctr">
              <a:spcBef>
                <a:spcPct val="0"/>
              </a:spcBef>
              <a:buNone/>
            </a:pPr>
            <a:r>
              <a:rPr lang="en-US" altLang="en-US" sz="2400" b="1" dirty="0">
                <a:solidFill>
                  <a:schemeClr val="bg1"/>
                </a:solidFill>
                <a:latin typeface="Ebrima"/>
              </a:rPr>
              <a:t>Urgent need for person-</a:t>
            </a:r>
            <a:r>
              <a:rPr lang="en-US" altLang="en-US" sz="2400" b="1" dirty="0" err="1">
                <a:solidFill>
                  <a:schemeClr val="bg1"/>
                </a:solidFill>
                <a:latin typeface="Ebrima"/>
              </a:rPr>
              <a:t>centred</a:t>
            </a:r>
            <a:r>
              <a:rPr lang="en-US" altLang="en-US" sz="2400" b="1" dirty="0">
                <a:solidFill>
                  <a:schemeClr val="bg1"/>
                </a:solidFill>
                <a:latin typeface="Ebrima"/>
              </a:rPr>
              <a:t> &amp; </a:t>
            </a:r>
          </a:p>
          <a:p>
            <a:pPr algn="ctr">
              <a:spcBef>
                <a:spcPct val="0"/>
              </a:spcBef>
              <a:buNone/>
            </a:pPr>
            <a:r>
              <a:rPr lang="en-US" altLang="en-US" sz="2400" b="1" dirty="0">
                <a:solidFill>
                  <a:schemeClr val="bg1"/>
                </a:solidFill>
                <a:latin typeface="Ebrima"/>
              </a:rPr>
              <a:t>human rights approach in mental health </a:t>
            </a:r>
            <a:endParaRPr lang="en-US" sz="2400" b="1" dirty="0">
              <a:solidFill>
                <a:schemeClr val="bg1"/>
              </a:solidFill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xmlns="" id="{0CD3E6B4-9C9D-74F5-5C1E-C5F850BF71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2888" cy="107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59969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>
          <a:xfrm>
            <a:off x="107562" y="927429"/>
            <a:ext cx="849853" cy="16985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773" y="2280599"/>
            <a:ext cx="3341318" cy="4248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</p:pic>
      <p:sp>
        <p:nvSpPr>
          <p:cNvPr id="2" name="Text Box 3"/>
          <p:cNvSpPr txBox="1">
            <a:spLocks noChangeArrowheads="1"/>
          </p:cNvSpPr>
          <p:nvPr/>
        </p:nvSpPr>
        <p:spPr bwMode="auto">
          <a:xfrm>
            <a:off x="107562" y="1568428"/>
            <a:ext cx="3522268" cy="936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marL="0" marR="0" lvl="1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alityRights Assessment toolkit</a:t>
            </a:r>
            <a:endParaRPr kumimoji="0" lang="en-US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 Box 4">
            <a:extLst>
              <a:ext uri="{FF2B5EF4-FFF2-40B4-BE49-F238E27FC236}">
                <a16:creationId xmlns:a16="http://schemas.microsoft.com/office/drawing/2014/main" xmlns="" id="{CC5E6291-EFED-4FA1-9D6D-141A110705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11359" y="1584831"/>
            <a:ext cx="3732539" cy="1289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marL="0" marR="0" lvl="1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uidance - Transforming services &amp; promoting rights</a:t>
            </a:r>
            <a:endParaRPr kumimoji="0" lang="en-US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14FCB10E-017D-4938-9BB4-AD5C131221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52411" y="2504532"/>
            <a:ext cx="2445409" cy="3433209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  <a:effectLst>
            <a:outerShdw blurRad="50800" dist="1143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122689" y="200969"/>
            <a:ext cx="7582427" cy="1152201"/>
          </a:xfrm>
          <a:ln>
            <a:noFill/>
          </a:ln>
        </p:spPr>
        <p:txBody>
          <a:bodyPr>
            <a:noAutofit/>
          </a:bodyPr>
          <a:lstStyle/>
          <a:p>
            <a:pPr algn="ctr"/>
            <a:r>
              <a:rPr lang="en-GB" altLang="en-US" sz="40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ssessing &amp; transforming services</a:t>
            </a:r>
            <a:endParaRPr lang="en-US" sz="40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Rectangle 7">
            <a:extLst>
              <a:ext uri="{FF2B5EF4-FFF2-40B4-BE49-F238E27FC236}">
                <a16:creationId xmlns:a16="http://schemas.microsoft.com/office/drawing/2014/main" xmlns="" id="{193D1134-7263-9B30-A082-CBEC350389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4400" y="-14289"/>
            <a:ext cx="9180000" cy="1260000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76200" dir="5400000" algn="ctr" rotWithShape="0">
              <a:schemeClr val="tx1">
                <a:alpha val="40000"/>
              </a:schemeClr>
            </a:outerShdw>
          </a:effectLst>
        </p:spPr>
        <p:txBody>
          <a:bodyPr wrap="square" tIns="108000" rIns="720000" bIns="216000" anchor="ctr" anchorCtr="0">
            <a:no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brima"/>
                <a:ea typeface="+mn-ea"/>
                <a:cs typeface="Arial" charset="0"/>
              </a:rPr>
              <a:t>Assessing &amp; transforming services</a:t>
            </a:r>
          </a:p>
        </p:txBody>
      </p:sp>
      <p:pic>
        <p:nvPicPr>
          <p:cNvPr id="15" name="Picture 3">
            <a:extLst>
              <a:ext uri="{FF2B5EF4-FFF2-40B4-BE49-F238E27FC236}">
                <a16:creationId xmlns:a16="http://schemas.microsoft.com/office/drawing/2014/main" xmlns="" id="{023FF6DA-FF56-9D7F-7C21-3C9D386213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2888" cy="107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500699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3E73B192-07A2-4903-BAEB-57F4DD4338F4}"/>
              </a:ext>
            </a:extLst>
          </p:cNvPr>
          <p:cNvSpPr txBox="1"/>
          <p:nvPr/>
        </p:nvSpPr>
        <p:spPr>
          <a:xfrm>
            <a:off x="358158" y="1799831"/>
            <a:ext cx="8764565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60150" lvl="1" indent="-342900" defTabSz="89567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GB" sz="2200" b="0" dirty="0">
                <a:latin typeface="+mn-lt"/>
              </a:rPr>
              <a:t>Expertise </a:t>
            </a:r>
            <a:r>
              <a:rPr lang="en-GB" sz="2200" dirty="0">
                <a:latin typeface="+mn-lt"/>
              </a:rPr>
              <a:t>of persons with lived experience (PLE) crucial for </a:t>
            </a:r>
            <a:r>
              <a:rPr lang="en-GB" sz="2200" b="0" dirty="0">
                <a:latin typeface="+mn-lt"/>
              </a:rPr>
              <a:t>reform</a:t>
            </a:r>
            <a:endParaRPr lang="en-GB" sz="2200" dirty="0">
              <a:latin typeface="+mn-lt"/>
            </a:endParaRPr>
          </a:p>
          <a:p>
            <a:pPr marL="460150" lvl="1" indent="-342900" defTabSz="895670">
              <a:buFont typeface="Wingdings" pitchFamily="2" charset="2"/>
              <a:buChar char="§"/>
              <a:defRPr/>
            </a:pPr>
            <a:r>
              <a:rPr lang="en-GB" sz="2200" dirty="0">
                <a:latin typeface="+mn-lt"/>
              </a:rPr>
              <a:t>BUT</a:t>
            </a:r>
            <a:r>
              <a:rPr lang="en-US" sz="2200" dirty="0">
                <a:latin typeface="+mn-lt"/>
              </a:rPr>
              <a:t> PLE not invited to:</a:t>
            </a:r>
          </a:p>
          <a:p>
            <a:pPr marL="918245" lvl="2" indent="-342900" defTabSz="895670">
              <a:buFont typeface="Symbol" panose="05050102010706020507" pitchFamily="18" charset="2"/>
              <a:buChar char=""/>
              <a:defRPr/>
            </a:pPr>
            <a:r>
              <a:rPr lang="en-US" sz="2000" dirty="0">
                <a:latin typeface="+mn-lt"/>
              </a:rPr>
              <a:t>guide policy and law development</a:t>
            </a:r>
          </a:p>
          <a:p>
            <a:pPr marL="918245" lvl="2" indent="-342900" defTabSz="895670">
              <a:spcAft>
                <a:spcPts val="800"/>
              </a:spcAft>
              <a:buFont typeface="Symbol" panose="05050102010706020507" pitchFamily="18" charset="2"/>
              <a:buChar char=""/>
              <a:defRPr/>
            </a:pPr>
            <a:r>
              <a:rPr lang="en-US" sz="2000" dirty="0">
                <a:latin typeface="+mn-lt"/>
              </a:rPr>
              <a:t>co-develop and implement services, training, and research</a:t>
            </a:r>
          </a:p>
          <a:p>
            <a:pPr marL="575345" lvl="2" defTabSz="895670">
              <a:spcAft>
                <a:spcPts val="800"/>
              </a:spcAft>
              <a:defRPr/>
            </a:pPr>
            <a:endParaRPr lang="en-US" sz="2200" b="0" dirty="0">
              <a:highlight>
                <a:srgbClr val="FFFF00"/>
              </a:highlight>
              <a:latin typeface="+mn-lt"/>
            </a:endParaRPr>
          </a:p>
          <a:p>
            <a:pPr marL="460150" lvl="1" indent="-342900" defTabSz="895670">
              <a:buFont typeface="Wingdings" pitchFamily="2" charset="2"/>
              <a:buChar char="§"/>
              <a:defRPr/>
            </a:pPr>
            <a:r>
              <a:rPr lang="en-GB" sz="2200" dirty="0">
                <a:latin typeface="+mn-lt"/>
              </a:rPr>
              <a:t>WHO QualityRights actions for meaningful participation.</a:t>
            </a:r>
          </a:p>
          <a:p>
            <a:pPr marL="918245" lvl="2" indent="-342900" defTabSz="895670">
              <a:buFont typeface="Symbol" panose="05050102010706020507" pitchFamily="18" charset="2"/>
              <a:buChar char="¾"/>
              <a:defRPr/>
            </a:pPr>
            <a:r>
              <a:rPr lang="en-GB" sz="2000" dirty="0">
                <a:latin typeface="+mn-lt"/>
              </a:rPr>
              <a:t>Creating opportunities to influence policy &amp; legislative processes</a:t>
            </a:r>
          </a:p>
          <a:p>
            <a:pPr marL="918245" lvl="2" indent="-342900" defTabSz="895670">
              <a:buFont typeface="Symbol" panose="05050102010706020507" pitchFamily="18" charset="2"/>
              <a:buChar char="¾"/>
              <a:defRPr/>
            </a:pPr>
            <a:r>
              <a:rPr lang="en-GB" sz="2000" dirty="0">
                <a:latin typeface="+mn-lt"/>
              </a:rPr>
              <a:t>Building capacities of PLE and OPDs to become experts on rights-based reform </a:t>
            </a:r>
          </a:p>
          <a:p>
            <a:pPr marL="918245" lvl="2" indent="-342900" defTabSz="895670">
              <a:buFont typeface="Symbol" panose="05050102010706020507" pitchFamily="18" charset="2"/>
              <a:buChar char="¾"/>
              <a:defRPr/>
            </a:pPr>
            <a:r>
              <a:rPr lang="en-GB" sz="2000" dirty="0">
                <a:latin typeface="+mn-lt"/>
              </a:rPr>
              <a:t>Capitalising on the skills of PLE to rollout QualityRights</a:t>
            </a:r>
          </a:p>
          <a:p>
            <a:pPr marL="918245" lvl="2" indent="-342900" defTabSz="895670">
              <a:buFont typeface="Symbol" panose="05050102010706020507" pitchFamily="18" charset="2"/>
              <a:buChar char="¾"/>
              <a:defRPr/>
            </a:pPr>
            <a:r>
              <a:rPr lang="en-GB" sz="2000" dirty="0">
                <a:latin typeface="+mn-lt"/>
              </a:rPr>
              <a:t>Engaging PLE in the development of WHO normative guidance</a:t>
            </a:r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xmlns="" id="{EFA2801C-069D-2967-B77D-E26689D9AF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4400" y="-14289"/>
            <a:ext cx="9180000" cy="1260000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76200" dir="5400000" algn="ctr" rotWithShape="0">
              <a:schemeClr val="tx1">
                <a:alpha val="40000"/>
              </a:schemeClr>
            </a:outerShdw>
          </a:effectLst>
        </p:spPr>
        <p:txBody>
          <a:bodyPr wrap="square" tIns="108000" rIns="720000" bIns="216000" anchor="ctr" anchorCtr="0">
            <a:no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None/>
            </a:pPr>
            <a:r>
              <a:rPr lang="en-US" altLang="en-US" sz="2400" b="1" dirty="0">
                <a:solidFill>
                  <a:schemeClr val="bg1"/>
                </a:solidFill>
                <a:latin typeface="Ebrima"/>
              </a:rPr>
              <a:t>Promote the participation of persons </a:t>
            </a:r>
          </a:p>
          <a:p>
            <a:pPr algn="ctr">
              <a:spcBef>
                <a:spcPct val="0"/>
              </a:spcBef>
              <a:buNone/>
            </a:pPr>
            <a:r>
              <a:rPr lang="en-US" altLang="en-US" sz="2400" b="1" dirty="0">
                <a:solidFill>
                  <a:schemeClr val="bg1"/>
                </a:solidFill>
                <a:latin typeface="Ebrima"/>
              </a:rPr>
              <a:t>with lived experience &amp; </a:t>
            </a:r>
          </a:p>
          <a:p>
            <a:pPr algn="ctr">
              <a:spcBef>
                <a:spcPct val="0"/>
              </a:spcBef>
              <a:buNone/>
            </a:pPr>
            <a:r>
              <a:rPr lang="en-US" altLang="en-US" sz="2400" b="1" dirty="0">
                <a:solidFill>
                  <a:schemeClr val="bg1"/>
                </a:solidFill>
                <a:latin typeface="Ebrima"/>
              </a:rPr>
              <a:t>support civil society</a:t>
            </a:r>
          </a:p>
        </p:txBody>
      </p:sp>
      <p:pic>
        <p:nvPicPr>
          <p:cNvPr id="14" name="Picture 3">
            <a:extLst>
              <a:ext uri="{FF2B5EF4-FFF2-40B4-BE49-F238E27FC236}">
                <a16:creationId xmlns:a16="http://schemas.microsoft.com/office/drawing/2014/main" xmlns="" id="{C15480EB-16EE-937F-C2AB-933A038408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2888" cy="107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948627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B0FD8805-383B-441B-8FD1-24D4E06FE8F7}"/>
              </a:ext>
            </a:extLst>
          </p:cNvPr>
          <p:cNvSpPr/>
          <p:nvPr/>
        </p:nvSpPr>
        <p:spPr>
          <a:xfrm>
            <a:off x="6990976" y="6355831"/>
            <a:ext cx="1673339" cy="50217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6F1B8BB9-85EF-411A-88D6-4B360FF229FF}"/>
              </a:ext>
            </a:extLst>
          </p:cNvPr>
          <p:cNvSpPr/>
          <p:nvPr/>
        </p:nvSpPr>
        <p:spPr>
          <a:xfrm>
            <a:off x="551920" y="4402945"/>
            <a:ext cx="3636670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457200"/>
            <a:endParaRPr lang="en-US" sz="2000" dirty="0">
              <a:solidFill>
                <a:srgbClr val="0070C0"/>
              </a:solidFill>
              <a:latin typeface="+mj-lt"/>
            </a:endParaRPr>
          </a:p>
          <a:p>
            <a:pPr marL="342900" lvl="1" indent="-342900" defTabSz="457200"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</a:pPr>
            <a:r>
              <a:rPr lang="en-US" sz="2000" dirty="0">
                <a:latin typeface="+mj-lt"/>
              </a:rPr>
              <a:t>(i) Setting-</a:t>
            </a:r>
            <a:r>
              <a:rPr lang="en-GB" sz="2000" dirty="0">
                <a:latin typeface="+mj-lt"/>
              </a:rPr>
              <a:t>up and operating civil society organizations and (ii) putting in place advocacy campaigns</a:t>
            </a:r>
            <a:endParaRPr lang="fr-CH" sz="2000" dirty="0">
              <a:latin typeface="+mj-lt"/>
            </a:endParaRPr>
          </a:p>
          <a:p>
            <a:pPr lvl="1"/>
            <a:endParaRPr lang="fr-CH" sz="800" kern="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ea typeface="宋体" pitchFamily="2" charset="-122"/>
              <a:cs typeface="Calibri" pitchFamily="34" charset="0"/>
            </a:endParaRPr>
          </a:p>
          <a:p>
            <a:pPr lvl="1"/>
            <a:endParaRPr lang="fr-CH" sz="800" kern="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ea typeface="宋体" pitchFamily="2" charset="-122"/>
              <a:cs typeface="Calibri" pitchFamily="34" charset="0"/>
            </a:endParaRPr>
          </a:p>
          <a:p>
            <a:pPr lvl="1"/>
            <a:endParaRPr lang="en-GB" sz="800" kern="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ea typeface="宋体" pitchFamily="2" charset="-122"/>
              <a:cs typeface="Calibri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xmlns="" id="{ADB7FF9B-101D-4B8E-B8A2-DDF6576E1E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36151" y="4202962"/>
            <a:ext cx="1707264" cy="238873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xmlns="" id="{3B9FA514-600A-4841-A802-4C397CAA61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3433" y="4213977"/>
            <a:ext cx="1697547" cy="236670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83AF5E40-7FA0-411E-8E35-0B125EE2A8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70915" y="1556159"/>
            <a:ext cx="1675833" cy="233057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2C64B376-5402-4757-888B-5FF9A1022F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63228" y="1556158"/>
            <a:ext cx="1673339" cy="234829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Rectangle 4">
            <a:extLst>
              <a:ext uri="{FF2B5EF4-FFF2-40B4-BE49-F238E27FC236}">
                <a16:creationId xmlns:a16="http://schemas.microsoft.com/office/drawing/2014/main" xmlns="" id="{18230499-E503-B982-2059-50374B27D2FB}"/>
              </a:ext>
            </a:extLst>
          </p:cNvPr>
          <p:cNvSpPr/>
          <p:nvPr/>
        </p:nvSpPr>
        <p:spPr>
          <a:xfrm>
            <a:off x="551920" y="2152022"/>
            <a:ext cx="3744959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1" indent="-342900" defTabSz="457200">
              <a:buClr>
                <a:srgbClr val="004A99"/>
              </a:buClr>
              <a:buSzPct val="120000"/>
              <a:buFont typeface="Wingdings" pitchFamily="2" charset="2"/>
              <a:buChar char="ü"/>
            </a:pPr>
            <a:r>
              <a:rPr lang="en-GB" sz="2000" dirty="0">
                <a:latin typeface="+mj-lt"/>
              </a:rPr>
              <a:t>Providing (</a:t>
            </a:r>
            <a:r>
              <a:rPr lang="en-GB" sz="2000" dirty="0" err="1">
                <a:latin typeface="+mj-lt"/>
              </a:rPr>
              <a:t>i</a:t>
            </a:r>
            <a:r>
              <a:rPr lang="en-GB" sz="2000" dirty="0">
                <a:latin typeface="+mj-lt"/>
              </a:rPr>
              <a:t>) one-to-one peer support and (ii) peer support groups</a:t>
            </a:r>
          </a:p>
          <a:p>
            <a:pPr lvl="1"/>
            <a:endParaRPr lang="en-GB" sz="800" kern="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ea typeface="宋体" pitchFamily="2" charset="-122"/>
              <a:cs typeface="Calibri" pitchFamily="34" charset="0"/>
            </a:endParaRPr>
          </a:p>
        </p:txBody>
      </p:sp>
      <p:sp>
        <p:nvSpPr>
          <p:cNvPr id="21" name="Rectangle 7">
            <a:extLst>
              <a:ext uri="{FF2B5EF4-FFF2-40B4-BE49-F238E27FC236}">
                <a16:creationId xmlns:a16="http://schemas.microsoft.com/office/drawing/2014/main" xmlns="" id="{E60E45C0-3CDF-F3B7-6789-1922A49B19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4400" y="-14289"/>
            <a:ext cx="9180000" cy="1260000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76200" dir="5400000" algn="ctr" rotWithShape="0">
              <a:schemeClr val="tx1">
                <a:alpha val="40000"/>
              </a:schemeClr>
            </a:outerShdw>
          </a:effectLst>
        </p:spPr>
        <p:txBody>
          <a:bodyPr wrap="square" tIns="108000" rIns="720000" bIns="216000" anchor="ctr" anchorCtr="0">
            <a:no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400" b="1" dirty="0">
                <a:solidFill>
                  <a:schemeClr val="bg1"/>
                </a:solidFill>
                <a:latin typeface="Ebrima"/>
                <a:ea typeface="+mj-ea"/>
                <a:cs typeface="+mj-cs"/>
              </a:rPr>
              <a:t>Engaging with persons with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400" b="1" dirty="0">
                <a:solidFill>
                  <a:schemeClr val="bg1"/>
                </a:solidFill>
                <a:latin typeface="Ebrima"/>
                <a:ea typeface="+mj-ea"/>
                <a:cs typeface="+mj-cs"/>
              </a:rPr>
              <a:t>lived experience &amp; civil society</a:t>
            </a:r>
          </a:p>
        </p:txBody>
      </p:sp>
      <p:pic>
        <p:nvPicPr>
          <p:cNvPr id="22" name="Picture 3">
            <a:extLst>
              <a:ext uri="{FF2B5EF4-FFF2-40B4-BE49-F238E27FC236}">
                <a16:creationId xmlns:a16="http://schemas.microsoft.com/office/drawing/2014/main" xmlns="" id="{1120982E-D5A4-35F3-47DA-0CF5B3EB93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2888" cy="107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555983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673873" y="3429001"/>
            <a:ext cx="3410912" cy="945001"/>
          </a:xfrm>
        </p:spPr>
        <p:txBody>
          <a:bodyPr>
            <a:noAutofit/>
          </a:bodyPr>
          <a:lstStyle/>
          <a:p>
            <a:pPr marL="600075" lvl="2" indent="-342900">
              <a:buClr>
                <a:srgbClr val="004A99"/>
              </a:buClr>
              <a:defRPr/>
            </a:pPr>
            <a:r>
              <a:rPr lang="en-US" sz="1800" dirty="0"/>
              <a:t>National mental health policies &amp; action plans (2023)</a:t>
            </a:r>
            <a:endParaRPr lang="en-GB" sz="1800" dirty="0"/>
          </a:p>
          <a:p>
            <a:pPr marL="257175" lvl="2" indent="0">
              <a:buClr>
                <a:srgbClr val="004A99"/>
              </a:buClr>
              <a:buNone/>
              <a:defRPr/>
            </a:pPr>
            <a:endParaRPr lang="en-US" sz="2400" dirty="0"/>
          </a:p>
          <a:p>
            <a:pPr marL="257175" lvl="2" indent="0">
              <a:buClr>
                <a:srgbClr val="004A99"/>
              </a:buClr>
              <a:buNone/>
              <a:defRPr/>
            </a:pPr>
            <a:endParaRPr lang="en-GB" sz="2400" dirty="0"/>
          </a:p>
          <a:p>
            <a:pPr marL="257175" lvl="2" indent="0">
              <a:buClr>
                <a:srgbClr val="004A99"/>
              </a:buClr>
              <a:buNone/>
              <a:defRPr/>
            </a:pPr>
            <a:endParaRPr lang="en-GB" sz="2400" dirty="0"/>
          </a:p>
          <a:p>
            <a:pPr marL="739430" lvl="2" indent="-257175">
              <a:buFont typeface="Wingdings" panose="05000000000000000000" pitchFamily="2" charset="2"/>
              <a:buChar char="Ø"/>
              <a:defRPr/>
            </a:pPr>
            <a:endParaRPr lang="en-GB" altLang="fr-FR" sz="2400" dirty="0">
              <a:solidFill>
                <a:srgbClr val="0070C0"/>
              </a:solidFill>
            </a:endParaRPr>
          </a:p>
          <a:p>
            <a:pPr lvl="1" indent="-257175">
              <a:lnSpc>
                <a:spcPct val="80000"/>
              </a:lnSpc>
              <a:buSzPct val="116000"/>
              <a:defRPr/>
            </a:pPr>
            <a:endParaRPr lang="en-US" altLang="zh-CN" sz="2400" dirty="0">
              <a:solidFill>
                <a:srgbClr val="0070C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36D46D5B-9E26-4C8E-9F0D-44BD048E8E22}"/>
              </a:ext>
            </a:extLst>
          </p:cNvPr>
          <p:cNvSpPr txBox="1"/>
          <p:nvPr/>
        </p:nvSpPr>
        <p:spPr>
          <a:xfrm>
            <a:off x="1405244" y="2039528"/>
            <a:ext cx="51040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altLang="fr-FR" sz="1800" b="1" dirty="0">
                <a:solidFill>
                  <a:srgbClr val="000000"/>
                </a:solidFill>
                <a:latin typeface="Calibri"/>
              </a:rPr>
              <a:t>Human-rights aligned GUIDANCE on:</a:t>
            </a:r>
          </a:p>
          <a:p>
            <a:pPr>
              <a:defRPr/>
            </a:pPr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5" name="Right Brace 4">
            <a:extLst>
              <a:ext uri="{FF2B5EF4-FFF2-40B4-BE49-F238E27FC236}">
                <a16:creationId xmlns:a16="http://schemas.microsoft.com/office/drawing/2014/main" xmlns="" id="{66C69E24-0679-4673-AC6A-C4D548D9D393}"/>
              </a:ext>
            </a:extLst>
          </p:cNvPr>
          <p:cNvSpPr/>
          <p:nvPr/>
        </p:nvSpPr>
        <p:spPr>
          <a:xfrm>
            <a:off x="4074186" y="2487259"/>
            <a:ext cx="220557" cy="3301139"/>
          </a:xfrm>
          <a:prstGeom prst="rightBrace">
            <a:avLst/>
          </a:prstGeom>
          <a:ln w="38100">
            <a:solidFill>
              <a:srgbClr val="10B8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en-US" sz="90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C7DB1CF3-BAF3-4A08-9677-3BAE1DADC7A1}"/>
              </a:ext>
            </a:extLst>
          </p:cNvPr>
          <p:cNvSpPr txBox="1"/>
          <p:nvPr/>
        </p:nvSpPr>
        <p:spPr>
          <a:xfrm>
            <a:off x="4572001" y="2492149"/>
            <a:ext cx="3068522" cy="3554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indent="-257175">
              <a:buFont typeface="Calibri" panose="020F0502020204030204" pitchFamily="34" charset="0"/>
              <a:buChar char="−"/>
              <a:defRPr/>
            </a:pPr>
            <a:r>
              <a:rPr lang="en-US" sz="1500" dirty="0">
                <a:solidFill>
                  <a:srgbClr val="222222"/>
                </a:solidFill>
                <a:latin typeface="Calibri"/>
                <a:ea typeface="Calibri" panose="020F0502020204030204" pitchFamily="34" charset="0"/>
              </a:rPr>
              <a:t>Social and structural determinants of health </a:t>
            </a:r>
          </a:p>
          <a:p>
            <a:pPr marL="257175" indent="-257175">
              <a:buFont typeface="Calibri" panose="020F0502020204030204" pitchFamily="34" charset="0"/>
              <a:buChar char="−"/>
              <a:defRPr/>
            </a:pPr>
            <a:r>
              <a:rPr lang="en-US" sz="1500" dirty="0">
                <a:solidFill>
                  <a:srgbClr val="222222"/>
                </a:solidFill>
                <a:latin typeface="Calibri"/>
                <a:ea typeface="Calibri" panose="020F0502020204030204" pitchFamily="34" charset="0"/>
              </a:rPr>
              <a:t>Climate change</a:t>
            </a:r>
          </a:p>
          <a:p>
            <a:pPr marL="257175" indent="-257175">
              <a:buFont typeface="Calibri" panose="020F0502020204030204" pitchFamily="34" charset="0"/>
              <a:buChar char="−"/>
              <a:defRPr/>
            </a:pPr>
            <a:r>
              <a:rPr lang="en-US" sz="1500" dirty="0">
                <a:solidFill>
                  <a:srgbClr val="222222"/>
                </a:solidFill>
                <a:latin typeface="Calibri"/>
                <a:ea typeface="Calibri" panose="020F0502020204030204" pitchFamily="34" charset="0"/>
              </a:rPr>
              <a:t>Racism and colonialism</a:t>
            </a:r>
          </a:p>
          <a:p>
            <a:pPr marL="257175" indent="-257175">
              <a:buFont typeface="Calibri" panose="020F0502020204030204" pitchFamily="34" charset="0"/>
              <a:buChar char="−"/>
              <a:defRPr/>
            </a:pPr>
            <a:r>
              <a:rPr lang="en-US" sz="1500" dirty="0">
                <a:solidFill>
                  <a:srgbClr val="222222"/>
                </a:solidFill>
                <a:latin typeface="Calibri"/>
                <a:ea typeface="Calibri" panose="020F0502020204030204" pitchFamily="34" charset="0"/>
              </a:rPr>
              <a:t>Discrimination based on gender, sexual orientation, age, or disability; </a:t>
            </a:r>
          </a:p>
          <a:p>
            <a:pPr marL="257175" indent="-257175">
              <a:buFont typeface="Calibri" panose="020F0502020204030204" pitchFamily="34" charset="0"/>
              <a:buChar char="−"/>
              <a:defRPr/>
            </a:pPr>
            <a:r>
              <a:rPr lang="en-US" sz="1500" dirty="0">
                <a:solidFill>
                  <a:srgbClr val="222222"/>
                </a:solidFill>
                <a:latin typeface="Calibri"/>
                <a:ea typeface="Calibri" panose="020F0502020204030204" pitchFamily="34" charset="0"/>
              </a:rPr>
              <a:t>Education, housing, employment, or social protection</a:t>
            </a:r>
          </a:p>
          <a:p>
            <a:pPr marL="257175" indent="-257175">
              <a:buFont typeface="Calibri" panose="020F0502020204030204" pitchFamily="34" charset="0"/>
              <a:buChar char="−"/>
              <a:defRPr/>
            </a:pPr>
            <a:r>
              <a:rPr lang="en-US" sz="1500" dirty="0">
                <a:solidFill>
                  <a:srgbClr val="222222"/>
                </a:solidFill>
                <a:latin typeface="Calibri"/>
                <a:ea typeface="Calibri" panose="020F0502020204030204" pitchFamily="34" charset="0"/>
              </a:rPr>
              <a:t>Violence, abuse, and crime </a:t>
            </a:r>
          </a:p>
          <a:p>
            <a:pPr marL="257175" indent="-257175">
              <a:buFont typeface="Calibri" panose="020F0502020204030204" pitchFamily="34" charset="0"/>
              <a:buChar char="−"/>
              <a:defRPr/>
            </a:pPr>
            <a:r>
              <a:rPr lang="en-US" sz="1500" dirty="0">
                <a:solidFill>
                  <a:srgbClr val="222222"/>
                </a:solidFill>
                <a:latin typeface="Calibri"/>
                <a:ea typeface="Calibri" panose="020F0502020204030204" pitchFamily="34" charset="0"/>
              </a:rPr>
              <a:t>COVID-19 and other health emergencies</a:t>
            </a:r>
          </a:p>
          <a:p>
            <a:pPr marL="257175" indent="-257175">
              <a:buFont typeface="Calibri" panose="020F0502020204030204" pitchFamily="34" charset="0"/>
              <a:buChar char="−"/>
              <a:defRPr/>
            </a:pPr>
            <a:r>
              <a:rPr lang="en-US" sz="1500" b="1" dirty="0">
                <a:solidFill>
                  <a:srgbClr val="222222"/>
                </a:solidFill>
                <a:latin typeface="Calibri"/>
              </a:rPr>
              <a:t>mental health service and system related issues.</a:t>
            </a:r>
          </a:p>
          <a:p>
            <a:pPr marL="257175" indent="-257175">
              <a:buFont typeface="Calibri" panose="020F0502020204030204" pitchFamily="34" charset="0"/>
              <a:buChar char="−"/>
              <a:defRPr/>
            </a:pPr>
            <a:endParaRPr lang="en-US" sz="15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xmlns="" id="{6193A695-0683-CF4F-6F10-6147C38297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873" y="315900"/>
            <a:ext cx="7945341" cy="1059676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76200" dir="5400000" algn="ctr" rotWithShape="0">
              <a:schemeClr val="tx1">
                <a:alpha val="40000"/>
              </a:schemeClr>
            </a:outerShdw>
          </a:effectLst>
        </p:spPr>
        <p:txBody>
          <a:bodyPr wrap="square" tIns="81000" rIns="540000" bIns="162000" anchor="ctr" anchorCtr="0">
            <a:no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None/>
              <a:defRPr/>
            </a:pPr>
            <a:r>
              <a:rPr lang="en-US" altLang="en-US" sz="1800" b="1" dirty="0">
                <a:solidFill>
                  <a:srgbClr val="FFFFFF"/>
                </a:solidFill>
                <a:latin typeface="Ebrima"/>
              </a:rPr>
              <a:t>Mental Health Policy Reform</a:t>
            </a:r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xmlns="" id="{0852FCC3-7B10-6594-ECFA-C57B106C01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873" y="335453"/>
            <a:ext cx="1107204" cy="914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0776495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7">
            <a:extLst>
              <a:ext uri="{FF2B5EF4-FFF2-40B4-BE49-F238E27FC236}">
                <a16:creationId xmlns:a16="http://schemas.microsoft.com/office/drawing/2014/main" xmlns="" id="{6193A695-0683-CF4F-6F10-6147C38297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01" y="1027113"/>
            <a:ext cx="8444515" cy="794414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76200" dir="5400000" algn="ctr" rotWithShape="0">
              <a:schemeClr val="tx1">
                <a:alpha val="40000"/>
              </a:schemeClr>
            </a:outerShdw>
          </a:effectLst>
        </p:spPr>
        <p:txBody>
          <a:bodyPr wrap="square" tIns="81000" rIns="540000" bIns="162000" anchor="ctr" anchorCtr="0">
            <a:no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None/>
              <a:defRPr/>
            </a:pPr>
            <a:r>
              <a:rPr lang="en-US" altLang="en-US" sz="1800" b="1" dirty="0">
                <a:solidFill>
                  <a:srgbClr val="FFFFFF"/>
                </a:solidFill>
                <a:latin typeface="Ebrima"/>
              </a:rPr>
              <a:t>          Policy package toolkit – 3 inter-related components</a:t>
            </a:r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xmlns="" id="{0852FCC3-7B10-6594-ECFA-C57B106C01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741" y="1041348"/>
            <a:ext cx="977166" cy="80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  <p:sp>
        <p:nvSpPr>
          <p:cNvPr id="7" name="Freeform: Shape 6">
            <a:extLst>
              <a:ext uri="{FF2B5EF4-FFF2-40B4-BE49-F238E27FC236}">
                <a16:creationId xmlns:a16="http://schemas.microsoft.com/office/drawing/2014/main" xmlns="" id="{1600492D-4455-45F7-A464-95498AEE13A4}"/>
              </a:ext>
            </a:extLst>
          </p:cNvPr>
          <p:cNvSpPr/>
          <p:nvPr/>
        </p:nvSpPr>
        <p:spPr>
          <a:xfrm>
            <a:off x="1009438" y="2622208"/>
            <a:ext cx="2429604" cy="2104133"/>
          </a:xfrm>
          <a:custGeom>
            <a:avLst/>
            <a:gdLst>
              <a:gd name="connsiteX0" fmla="*/ 2620414 w 2863966"/>
              <a:gd name="connsiteY0" fmla="*/ 0 h 3880202"/>
              <a:gd name="connsiteX1" fmla="*/ 0 w 2863966"/>
              <a:gd name="connsiteY1" fmla="*/ 0 h 3880202"/>
              <a:gd name="connsiteX2" fmla="*/ 0 w 2863966"/>
              <a:gd name="connsiteY2" fmla="*/ 3880203 h 3880202"/>
              <a:gd name="connsiteX3" fmla="*/ 2620414 w 2863966"/>
              <a:gd name="connsiteY3" fmla="*/ 3880203 h 3880202"/>
              <a:gd name="connsiteX4" fmla="*/ 2863967 w 2863966"/>
              <a:gd name="connsiteY4" fmla="*/ 3637572 h 3880202"/>
              <a:gd name="connsiteX5" fmla="*/ 2863967 w 2863966"/>
              <a:gd name="connsiteY5" fmla="*/ 242631 h 3880202"/>
              <a:gd name="connsiteX6" fmla="*/ 2620414 w 2863966"/>
              <a:gd name="connsiteY6" fmla="*/ 0 h 3880202"/>
              <a:gd name="connsiteX7" fmla="*/ 97052 w 2863966"/>
              <a:gd name="connsiteY7" fmla="*/ 97053 h 3880202"/>
              <a:gd name="connsiteX8" fmla="*/ 400875 w 2863966"/>
              <a:gd name="connsiteY8" fmla="*/ 97053 h 3880202"/>
              <a:gd name="connsiteX9" fmla="*/ 400875 w 2863966"/>
              <a:gd name="connsiteY9" fmla="*/ 3783150 h 3880202"/>
              <a:gd name="connsiteX10" fmla="*/ 97052 w 2863966"/>
              <a:gd name="connsiteY10" fmla="*/ 3783150 h 3880202"/>
              <a:gd name="connsiteX11" fmla="*/ 2766915 w 2863966"/>
              <a:gd name="connsiteY11" fmla="*/ 3637669 h 3880202"/>
              <a:gd name="connsiteX12" fmla="*/ 2620414 w 2863966"/>
              <a:gd name="connsiteY12" fmla="*/ 3783247 h 3880202"/>
              <a:gd name="connsiteX13" fmla="*/ 497927 w 2863966"/>
              <a:gd name="connsiteY13" fmla="*/ 3783247 h 3880202"/>
              <a:gd name="connsiteX14" fmla="*/ 497927 w 2863966"/>
              <a:gd name="connsiteY14" fmla="*/ 97053 h 3880202"/>
              <a:gd name="connsiteX15" fmla="*/ 2620414 w 2863966"/>
              <a:gd name="connsiteY15" fmla="*/ 97053 h 3880202"/>
              <a:gd name="connsiteX16" fmla="*/ 2766915 w 2863966"/>
              <a:gd name="connsiteY16" fmla="*/ 242631 h 3880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863966" h="3880202">
                <a:moveTo>
                  <a:pt x="2620414" y="0"/>
                </a:moveTo>
                <a:lnTo>
                  <a:pt x="0" y="0"/>
                </a:lnTo>
                <a:lnTo>
                  <a:pt x="0" y="3880203"/>
                </a:lnTo>
                <a:lnTo>
                  <a:pt x="2620414" y="3880203"/>
                </a:lnTo>
                <a:cubicBezTo>
                  <a:pt x="2754618" y="3880339"/>
                  <a:pt x="2863593" y="3771776"/>
                  <a:pt x="2863967" y="3637572"/>
                </a:cubicBezTo>
                <a:lnTo>
                  <a:pt x="2863967" y="242631"/>
                </a:lnTo>
                <a:cubicBezTo>
                  <a:pt x="2863593" y="108427"/>
                  <a:pt x="2754618" y="-134"/>
                  <a:pt x="2620414" y="0"/>
                </a:cubicBezTo>
                <a:close/>
                <a:moveTo>
                  <a:pt x="97052" y="97053"/>
                </a:moveTo>
                <a:lnTo>
                  <a:pt x="400875" y="97053"/>
                </a:lnTo>
                <a:lnTo>
                  <a:pt x="400875" y="3783150"/>
                </a:lnTo>
                <a:lnTo>
                  <a:pt x="97052" y="3783150"/>
                </a:lnTo>
                <a:close/>
                <a:moveTo>
                  <a:pt x="2766915" y="3637669"/>
                </a:moveTo>
                <a:cubicBezTo>
                  <a:pt x="2766594" y="3718295"/>
                  <a:pt x="2701040" y="3783437"/>
                  <a:pt x="2620414" y="3783247"/>
                </a:cubicBezTo>
                <a:lnTo>
                  <a:pt x="497927" y="3783247"/>
                </a:lnTo>
                <a:lnTo>
                  <a:pt x="497927" y="97053"/>
                </a:lnTo>
                <a:lnTo>
                  <a:pt x="2620414" y="97053"/>
                </a:lnTo>
                <a:cubicBezTo>
                  <a:pt x="2701040" y="96865"/>
                  <a:pt x="2766594" y="162005"/>
                  <a:pt x="2766915" y="242631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4851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20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9A82B134-F565-4E93-87DF-EE8644206A26}"/>
              </a:ext>
            </a:extLst>
          </p:cNvPr>
          <p:cNvSpPr txBox="1"/>
          <p:nvPr/>
        </p:nvSpPr>
        <p:spPr>
          <a:xfrm>
            <a:off x="1639023" y="2774060"/>
            <a:ext cx="1722179" cy="16850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accent3">
                    <a:lumMod val="75000"/>
                  </a:schemeClr>
                </a:solidFill>
              </a:rPr>
              <a:t>Key policy directives &amp; strategic actions for mental health sector</a:t>
            </a:r>
            <a:endParaRPr lang="en-US" sz="1200" dirty="0"/>
          </a:p>
          <a:p>
            <a:pPr algn="ctr"/>
            <a:endParaRPr lang="en-US" sz="750" dirty="0"/>
          </a:p>
          <a:p>
            <a:pPr algn="ctr"/>
            <a:endParaRPr lang="en-US" sz="1200" dirty="0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3">
                    <a:lumMod val="75000"/>
                  </a:schemeClr>
                </a:solidFill>
              </a:rPr>
              <a:t>Policy directive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3">
                    <a:lumMod val="75000"/>
                  </a:schemeClr>
                </a:solidFill>
              </a:rPr>
              <a:t>Strategie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3">
                    <a:lumMod val="75000"/>
                  </a:schemeClr>
                </a:solidFill>
              </a:rPr>
              <a:t>Actions</a:t>
            </a: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xmlns="" id="{1CB47FD7-874C-43A8-9381-FB8693454738}"/>
              </a:ext>
            </a:extLst>
          </p:cNvPr>
          <p:cNvSpPr/>
          <p:nvPr/>
        </p:nvSpPr>
        <p:spPr>
          <a:xfrm>
            <a:off x="4931679" y="2211054"/>
            <a:ext cx="2623947" cy="2769989"/>
          </a:xfrm>
          <a:custGeom>
            <a:avLst/>
            <a:gdLst>
              <a:gd name="connsiteX0" fmla="*/ 2620414 w 2863966"/>
              <a:gd name="connsiteY0" fmla="*/ 0 h 3880202"/>
              <a:gd name="connsiteX1" fmla="*/ 0 w 2863966"/>
              <a:gd name="connsiteY1" fmla="*/ 0 h 3880202"/>
              <a:gd name="connsiteX2" fmla="*/ 0 w 2863966"/>
              <a:gd name="connsiteY2" fmla="*/ 3880203 h 3880202"/>
              <a:gd name="connsiteX3" fmla="*/ 2620414 w 2863966"/>
              <a:gd name="connsiteY3" fmla="*/ 3880203 h 3880202"/>
              <a:gd name="connsiteX4" fmla="*/ 2863967 w 2863966"/>
              <a:gd name="connsiteY4" fmla="*/ 3637572 h 3880202"/>
              <a:gd name="connsiteX5" fmla="*/ 2863967 w 2863966"/>
              <a:gd name="connsiteY5" fmla="*/ 242631 h 3880202"/>
              <a:gd name="connsiteX6" fmla="*/ 2620414 w 2863966"/>
              <a:gd name="connsiteY6" fmla="*/ 0 h 3880202"/>
              <a:gd name="connsiteX7" fmla="*/ 97052 w 2863966"/>
              <a:gd name="connsiteY7" fmla="*/ 97053 h 3880202"/>
              <a:gd name="connsiteX8" fmla="*/ 400875 w 2863966"/>
              <a:gd name="connsiteY8" fmla="*/ 97053 h 3880202"/>
              <a:gd name="connsiteX9" fmla="*/ 400875 w 2863966"/>
              <a:gd name="connsiteY9" fmla="*/ 3783150 h 3880202"/>
              <a:gd name="connsiteX10" fmla="*/ 97052 w 2863966"/>
              <a:gd name="connsiteY10" fmla="*/ 3783150 h 3880202"/>
              <a:gd name="connsiteX11" fmla="*/ 2766915 w 2863966"/>
              <a:gd name="connsiteY11" fmla="*/ 3637669 h 3880202"/>
              <a:gd name="connsiteX12" fmla="*/ 2620414 w 2863966"/>
              <a:gd name="connsiteY12" fmla="*/ 3783247 h 3880202"/>
              <a:gd name="connsiteX13" fmla="*/ 497927 w 2863966"/>
              <a:gd name="connsiteY13" fmla="*/ 3783247 h 3880202"/>
              <a:gd name="connsiteX14" fmla="*/ 497927 w 2863966"/>
              <a:gd name="connsiteY14" fmla="*/ 97053 h 3880202"/>
              <a:gd name="connsiteX15" fmla="*/ 2620414 w 2863966"/>
              <a:gd name="connsiteY15" fmla="*/ 97053 h 3880202"/>
              <a:gd name="connsiteX16" fmla="*/ 2766915 w 2863966"/>
              <a:gd name="connsiteY16" fmla="*/ 242631 h 3880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863966" h="3880202">
                <a:moveTo>
                  <a:pt x="2620414" y="0"/>
                </a:moveTo>
                <a:lnTo>
                  <a:pt x="0" y="0"/>
                </a:lnTo>
                <a:lnTo>
                  <a:pt x="0" y="3880203"/>
                </a:lnTo>
                <a:lnTo>
                  <a:pt x="2620414" y="3880203"/>
                </a:lnTo>
                <a:cubicBezTo>
                  <a:pt x="2754618" y="3880339"/>
                  <a:pt x="2863593" y="3771776"/>
                  <a:pt x="2863967" y="3637572"/>
                </a:cubicBezTo>
                <a:lnTo>
                  <a:pt x="2863967" y="242631"/>
                </a:lnTo>
                <a:cubicBezTo>
                  <a:pt x="2863593" y="108427"/>
                  <a:pt x="2754618" y="-134"/>
                  <a:pt x="2620414" y="0"/>
                </a:cubicBezTo>
                <a:close/>
                <a:moveTo>
                  <a:pt x="97052" y="97053"/>
                </a:moveTo>
                <a:lnTo>
                  <a:pt x="400875" y="97053"/>
                </a:lnTo>
                <a:lnTo>
                  <a:pt x="400875" y="3783150"/>
                </a:lnTo>
                <a:lnTo>
                  <a:pt x="97052" y="3783150"/>
                </a:lnTo>
                <a:close/>
                <a:moveTo>
                  <a:pt x="2766915" y="3637669"/>
                </a:moveTo>
                <a:cubicBezTo>
                  <a:pt x="2766594" y="3718295"/>
                  <a:pt x="2701040" y="3783437"/>
                  <a:pt x="2620414" y="3783247"/>
                </a:cubicBezTo>
                <a:lnTo>
                  <a:pt x="497927" y="3783247"/>
                </a:lnTo>
                <a:lnTo>
                  <a:pt x="497927" y="97053"/>
                </a:lnTo>
                <a:lnTo>
                  <a:pt x="2620414" y="97053"/>
                </a:lnTo>
                <a:cubicBezTo>
                  <a:pt x="2701040" y="96865"/>
                  <a:pt x="2766594" y="162005"/>
                  <a:pt x="2766915" y="242631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4851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20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1E1DB60F-202E-4E75-8730-5901F1AADA5E}"/>
              </a:ext>
            </a:extLst>
          </p:cNvPr>
          <p:cNvSpPr txBox="1"/>
          <p:nvPr/>
        </p:nvSpPr>
        <p:spPr>
          <a:xfrm>
            <a:off x="5336117" y="2308474"/>
            <a:ext cx="1994581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FF0066"/>
                </a:solidFill>
              </a:rPr>
              <a:t>Key policy directives and strategic actions for other sectors</a:t>
            </a:r>
            <a:endParaRPr lang="en-US" sz="1050" dirty="0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dirty="0">
                <a:solidFill>
                  <a:srgbClr val="FF0066"/>
                </a:solidFill>
              </a:rPr>
              <a:t>Health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dirty="0">
                <a:solidFill>
                  <a:srgbClr val="FF0066"/>
                </a:solidFill>
              </a:rPr>
              <a:t>Disability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dirty="0">
                <a:solidFill>
                  <a:srgbClr val="FF0066"/>
                </a:solidFill>
              </a:rPr>
              <a:t>Education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dirty="0">
                <a:solidFill>
                  <a:srgbClr val="FF0066"/>
                </a:solidFill>
              </a:rPr>
              <a:t>Employment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dirty="0">
                <a:solidFill>
                  <a:srgbClr val="FF0066"/>
                </a:solidFill>
              </a:rPr>
              <a:t>Housing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dirty="0">
                <a:solidFill>
                  <a:srgbClr val="FF0066"/>
                </a:solidFill>
              </a:rPr>
              <a:t>Social protection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dirty="0">
                <a:solidFill>
                  <a:srgbClr val="FF0066"/>
                </a:solidFill>
              </a:rPr>
              <a:t>Financing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dirty="0">
                <a:solidFill>
                  <a:srgbClr val="FF0066"/>
                </a:solidFill>
              </a:rPr>
              <a:t>Culture and sport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dirty="0">
                <a:solidFill>
                  <a:srgbClr val="FF0066"/>
                </a:solidFill>
              </a:rPr>
              <a:t>Criminal Justic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dirty="0">
                <a:solidFill>
                  <a:srgbClr val="FF0066"/>
                </a:solidFill>
              </a:rPr>
              <a:t>Agricultur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dirty="0">
                <a:solidFill>
                  <a:srgbClr val="FF0066"/>
                </a:solidFill>
              </a:rPr>
              <a:t>Urban </a:t>
            </a:r>
            <a:r>
              <a:rPr lang="en-US" sz="975" dirty="0" err="1">
                <a:solidFill>
                  <a:srgbClr val="FF0066"/>
                </a:solidFill>
              </a:rPr>
              <a:t>design;Transport</a:t>
            </a:r>
            <a:endParaRPr lang="en-US" sz="975" dirty="0">
              <a:solidFill>
                <a:srgbClr val="FF0066"/>
              </a:solidFill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75" dirty="0">
                <a:solidFill>
                  <a:srgbClr val="FF0066"/>
                </a:solidFill>
              </a:rPr>
              <a:t>Gender and human rights</a:t>
            </a:r>
          </a:p>
          <a:p>
            <a:endParaRPr lang="en-US" sz="1200" dirty="0">
              <a:solidFill>
                <a:srgbClr val="FF0066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xmlns="" id="{9BAFF910-11D0-410A-A70B-2D6A0F370BAD}"/>
              </a:ext>
            </a:extLst>
          </p:cNvPr>
          <p:cNvSpPr/>
          <p:nvPr/>
        </p:nvSpPr>
        <p:spPr>
          <a:xfrm>
            <a:off x="3179475" y="4780583"/>
            <a:ext cx="2113261" cy="1588460"/>
          </a:xfrm>
          <a:custGeom>
            <a:avLst/>
            <a:gdLst>
              <a:gd name="connsiteX0" fmla="*/ 2620414 w 2863966"/>
              <a:gd name="connsiteY0" fmla="*/ 0 h 3880202"/>
              <a:gd name="connsiteX1" fmla="*/ 0 w 2863966"/>
              <a:gd name="connsiteY1" fmla="*/ 0 h 3880202"/>
              <a:gd name="connsiteX2" fmla="*/ 0 w 2863966"/>
              <a:gd name="connsiteY2" fmla="*/ 3880203 h 3880202"/>
              <a:gd name="connsiteX3" fmla="*/ 2620414 w 2863966"/>
              <a:gd name="connsiteY3" fmla="*/ 3880203 h 3880202"/>
              <a:gd name="connsiteX4" fmla="*/ 2863967 w 2863966"/>
              <a:gd name="connsiteY4" fmla="*/ 3637572 h 3880202"/>
              <a:gd name="connsiteX5" fmla="*/ 2863967 w 2863966"/>
              <a:gd name="connsiteY5" fmla="*/ 242631 h 3880202"/>
              <a:gd name="connsiteX6" fmla="*/ 2620414 w 2863966"/>
              <a:gd name="connsiteY6" fmla="*/ 0 h 3880202"/>
              <a:gd name="connsiteX7" fmla="*/ 97052 w 2863966"/>
              <a:gd name="connsiteY7" fmla="*/ 97053 h 3880202"/>
              <a:gd name="connsiteX8" fmla="*/ 400875 w 2863966"/>
              <a:gd name="connsiteY8" fmla="*/ 97053 h 3880202"/>
              <a:gd name="connsiteX9" fmla="*/ 400875 w 2863966"/>
              <a:gd name="connsiteY9" fmla="*/ 3783150 h 3880202"/>
              <a:gd name="connsiteX10" fmla="*/ 97052 w 2863966"/>
              <a:gd name="connsiteY10" fmla="*/ 3783150 h 3880202"/>
              <a:gd name="connsiteX11" fmla="*/ 2766915 w 2863966"/>
              <a:gd name="connsiteY11" fmla="*/ 3637669 h 3880202"/>
              <a:gd name="connsiteX12" fmla="*/ 2620414 w 2863966"/>
              <a:gd name="connsiteY12" fmla="*/ 3783247 h 3880202"/>
              <a:gd name="connsiteX13" fmla="*/ 497927 w 2863966"/>
              <a:gd name="connsiteY13" fmla="*/ 3783247 h 3880202"/>
              <a:gd name="connsiteX14" fmla="*/ 497927 w 2863966"/>
              <a:gd name="connsiteY14" fmla="*/ 97053 h 3880202"/>
              <a:gd name="connsiteX15" fmla="*/ 2620414 w 2863966"/>
              <a:gd name="connsiteY15" fmla="*/ 97053 h 3880202"/>
              <a:gd name="connsiteX16" fmla="*/ 2766915 w 2863966"/>
              <a:gd name="connsiteY16" fmla="*/ 242631 h 3880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863966" h="3880202">
                <a:moveTo>
                  <a:pt x="2620414" y="0"/>
                </a:moveTo>
                <a:lnTo>
                  <a:pt x="0" y="0"/>
                </a:lnTo>
                <a:lnTo>
                  <a:pt x="0" y="3880203"/>
                </a:lnTo>
                <a:lnTo>
                  <a:pt x="2620414" y="3880203"/>
                </a:lnTo>
                <a:cubicBezTo>
                  <a:pt x="2754618" y="3880339"/>
                  <a:pt x="2863593" y="3771776"/>
                  <a:pt x="2863967" y="3637572"/>
                </a:cubicBezTo>
                <a:lnTo>
                  <a:pt x="2863967" y="242631"/>
                </a:lnTo>
                <a:cubicBezTo>
                  <a:pt x="2863593" y="108427"/>
                  <a:pt x="2754618" y="-134"/>
                  <a:pt x="2620414" y="0"/>
                </a:cubicBezTo>
                <a:close/>
                <a:moveTo>
                  <a:pt x="97052" y="97053"/>
                </a:moveTo>
                <a:lnTo>
                  <a:pt x="400875" y="97053"/>
                </a:lnTo>
                <a:lnTo>
                  <a:pt x="400875" y="3783150"/>
                </a:lnTo>
                <a:lnTo>
                  <a:pt x="97052" y="3783150"/>
                </a:lnTo>
                <a:close/>
                <a:moveTo>
                  <a:pt x="2766915" y="3637669"/>
                </a:moveTo>
                <a:cubicBezTo>
                  <a:pt x="2766594" y="3718295"/>
                  <a:pt x="2701040" y="3783437"/>
                  <a:pt x="2620414" y="3783247"/>
                </a:cubicBezTo>
                <a:lnTo>
                  <a:pt x="497927" y="3783247"/>
                </a:lnTo>
                <a:lnTo>
                  <a:pt x="497927" y="97053"/>
                </a:lnTo>
                <a:lnTo>
                  <a:pt x="2620414" y="97053"/>
                </a:lnTo>
                <a:cubicBezTo>
                  <a:pt x="2701040" y="96865"/>
                  <a:pt x="2766594" y="162005"/>
                  <a:pt x="2766915" y="242631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4851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20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88604C34-209C-4796-B909-AA94AC937B02}"/>
              </a:ext>
            </a:extLst>
          </p:cNvPr>
          <p:cNvSpPr txBox="1"/>
          <p:nvPr/>
        </p:nvSpPr>
        <p:spPr>
          <a:xfrm>
            <a:off x="3570557" y="5029703"/>
            <a:ext cx="172217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Process steps for developing, implementing &amp; evaluating policy &amp; strategic action plans</a:t>
            </a:r>
          </a:p>
          <a:p>
            <a:endParaRPr lang="en-US" sz="1200" dirty="0"/>
          </a:p>
          <a:p>
            <a:endParaRPr lang="en-US" sz="1200" dirty="0"/>
          </a:p>
          <a:p>
            <a:endParaRPr lang="en-US" sz="1200" dirty="0"/>
          </a:p>
          <a:p>
            <a:endParaRPr lang="en-US" sz="1200" dirty="0">
              <a:solidFill>
                <a:srgbClr val="FF0066"/>
              </a:solidFill>
            </a:endParaRPr>
          </a:p>
        </p:txBody>
      </p:sp>
      <p:grpSp>
        <p:nvGrpSpPr>
          <p:cNvPr id="7176" name="Group 7175">
            <a:extLst>
              <a:ext uri="{FF2B5EF4-FFF2-40B4-BE49-F238E27FC236}">
                <a16:creationId xmlns:a16="http://schemas.microsoft.com/office/drawing/2014/main" xmlns="" id="{ACE1ACA4-A0B8-4679-A353-8C003F82CFAE}"/>
              </a:ext>
            </a:extLst>
          </p:cNvPr>
          <p:cNvGrpSpPr/>
          <p:nvPr/>
        </p:nvGrpSpPr>
        <p:grpSpPr>
          <a:xfrm>
            <a:off x="5427246" y="5001459"/>
            <a:ext cx="747497" cy="589761"/>
            <a:chOff x="5702999" y="4478469"/>
            <a:chExt cx="996662" cy="786348"/>
          </a:xfrm>
        </p:grpSpPr>
        <p:cxnSp>
          <p:nvCxnSpPr>
            <p:cNvPr id="7173" name="Straight Arrow Connector 7172">
              <a:extLst>
                <a:ext uri="{FF2B5EF4-FFF2-40B4-BE49-F238E27FC236}">
                  <a16:creationId xmlns:a16="http://schemas.microsoft.com/office/drawing/2014/main" xmlns="" id="{A87FAE4C-12C3-4D17-9923-122BCCE63830}"/>
                </a:ext>
              </a:extLst>
            </p:cNvPr>
            <p:cNvCxnSpPr/>
            <p:nvPr/>
          </p:nvCxnSpPr>
          <p:spPr>
            <a:xfrm flipV="1">
              <a:off x="6699661" y="4478469"/>
              <a:ext cx="0" cy="786348"/>
            </a:xfrm>
            <a:prstGeom prst="straightConnector1">
              <a:avLst/>
            </a:prstGeom>
            <a:ln w="3810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75" name="Straight Connector 7174">
              <a:extLst>
                <a:ext uri="{FF2B5EF4-FFF2-40B4-BE49-F238E27FC236}">
                  <a16:creationId xmlns:a16="http://schemas.microsoft.com/office/drawing/2014/main" xmlns="" id="{D3201D8B-6FF2-400B-B9A3-DA05A6435BE2}"/>
                </a:ext>
              </a:extLst>
            </p:cNvPr>
            <p:cNvCxnSpPr/>
            <p:nvPr/>
          </p:nvCxnSpPr>
          <p:spPr>
            <a:xfrm>
              <a:off x="5702999" y="5264817"/>
              <a:ext cx="996662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178" name="Group 7177">
            <a:extLst>
              <a:ext uri="{FF2B5EF4-FFF2-40B4-BE49-F238E27FC236}">
                <a16:creationId xmlns:a16="http://schemas.microsoft.com/office/drawing/2014/main" xmlns="" id="{9A76154A-49B3-4428-9DE5-0B9037618F41}"/>
              </a:ext>
            </a:extLst>
          </p:cNvPr>
          <p:cNvGrpSpPr/>
          <p:nvPr/>
        </p:nvGrpSpPr>
        <p:grpSpPr>
          <a:xfrm>
            <a:off x="2378655" y="4632005"/>
            <a:ext cx="757439" cy="590864"/>
            <a:chOff x="1749969" y="4478469"/>
            <a:chExt cx="1009918" cy="787818"/>
          </a:xfrm>
        </p:grpSpPr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xmlns="" id="{148478D1-AB45-4E25-8697-534465FFC418}"/>
                </a:ext>
              </a:extLst>
            </p:cNvPr>
            <p:cNvCxnSpPr/>
            <p:nvPr/>
          </p:nvCxnSpPr>
          <p:spPr>
            <a:xfrm flipV="1">
              <a:off x="1749969" y="4478469"/>
              <a:ext cx="0" cy="786348"/>
            </a:xfrm>
            <a:prstGeom prst="straightConnector1">
              <a:avLst/>
            </a:prstGeom>
            <a:ln w="3810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xmlns="" id="{8E9C4184-B1AB-4694-95AD-8C61DDC0A33E}"/>
                </a:ext>
              </a:extLst>
            </p:cNvPr>
            <p:cNvCxnSpPr/>
            <p:nvPr/>
          </p:nvCxnSpPr>
          <p:spPr>
            <a:xfrm>
              <a:off x="1763225" y="5266287"/>
              <a:ext cx="996662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Oval 1">
            <a:extLst>
              <a:ext uri="{FF2B5EF4-FFF2-40B4-BE49-F238E27FC236}">
                <a16:creationId xmlns:a16="http://schemas.microsoft.com/office/drawing/2014/main" xmlns="" id="{6D0F997B-B321-4546-AF8B-0CEAC87F1E55}"/>
              </a:ext>
            </a:extLst>
          </p:cNvPr>
          <p:cNvSpPr/>
          <p:nvPr/>
        </p:nvSpPr>
        <p:spPr>
          <a:xfrm>
            <a:off x="4558500" y="2211688"/>
            <a:ext cx="815551" cy="6858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3AE2886E-4FF1-438A-9351-EF0281516121}"/>
              </a:ext>
            </a:extLst>
          </p:cNvPr>
          <p:cNvSpPr/>
          <p:nvPr/>
        </p:nvSpPr>
        <p:spPr>
          <a:xfrm>
            <a:off x="3304987" y="4289105"/>
            <a:ext cx="685800" cy="6858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B12AFE41-06DE-4BAE-9090-38976CFF8486}"/>
              </a:ext>
            </a:extLst>
          </p:cNvPr>
          <p:cNvSpPr/>
          <p:nvPr/>
        </p:nvSpPr>
        <p:spPr>
          <a:xfrm>
            <a:off x="918641" y="2622208"/>
            <a:ext cx="685800" cy="6858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27932928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xmlns="" id="{5B54BC56-4B84-6A42-9754-E6B417D97B6F}"/>
              </a:ext>
            </a:extLst>
          </p:cNvPr>
          <p:cNvSpPr/>
          <p:nvPr/>
        </p:nvSpPr>
        <p:spPr>
          <a:xfrm>
            <a:off x="275477" y="943509"/>
            <a:ext cx="2012902" cy="443479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ysClr val="windowText" lastClr="000000"/>
                </a:solidFill>
                <a:latin typeface="Calibri"/>
              </a:rPr>
              <a:t>1. Service </a:t>
            </a:r>
            <a:r>
              <a:rPr lang="en-US" sz="1200" b="1" dirty="0" err="1">
                <a:solidFill>
                  <a:sysClr val="windowText" lastClr="000000"/>
                </a:solidFill>
                <a:latin typeface="Calibri"/>
              </a:rPr>
              <a:t>organisation</a:t>
            </a:r>
            <a:r>
              <a:rPr lang="en-US" sz="1200" b="1" dirty="0">
                <a:solidFill>
                  <a:sysClr val="windowText" lastClr="000000"/>
                </a:solidFill>
                <a:latin typeface="Calibri"/>
              </a:rPr>
              <a:t> and development </a:t>
            </a:r>
          </a:p>
        </p:txBody>
      </p:sp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xmlns="" id="{478FCCD4-9939-B548-99D2-CB9580E49C73}"/>
              </a:ext>
            </a:extLst>
          </p:cNvPr>
          <p:cNvSpPr/>
          <p:nvPr/>
        </p:nvSpPr>
        <p:spPr>
          <a:xfrm>
            <a:off x="2417374" y="943509"/>
            <a:ext cx="1551707" cy="58433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ysClr val="windowText" lastClr="000000"/>
                </a:solidFill>
                <a:latin typeface="Calibri"/>
              </a:rPr>
              <a:t>2. Human resource and workforce development </a:t>
            </a: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xmlns="" id="{24CD0A3B-B574-2744-A12B-A98ED750AE37}"/>
              </a:ext>
            </a:extLst>
          </p:cNvPr>
          <p:cNvSpPr/>
          <p:nvPr/>
        </p:nvSpPr>
        <p:spPr>
          <a:xfrm>
            <a:off x="4066473" y="952224"/>
            <a:ext cx="1815367" cy="624941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ysClr val="windowText" lastClr="000000"/>
                </a:solidFill>
                <a:latin typeface="Calibri"/>
              </a:rPr>
              <a:t>3</a:t>
            </a:r>
            <a:r>
              <a:rPr lang="en-US" sz="1200" b="1" dirty="0">
                <a:solidFill>
                  <a:sysClr val="windowText" lastClr="000000"/>
                </a:solidFill>
              </a:rPr>
              <a:t> Assessment, interventions &amp; support </a:t>
            </a:r>
            <a:endParaRPr lang="en-US" sz="1200" b="1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xmlns="" id="{17847B5A-C0FE-CA49-BFFF-F92C581DCE73}"/>
              </a:ext>
            </a:extLst>
          </p:cNvPr>
          <p:cNvSpPr/>
          <p:nvPr/>
        </p:nvSpPr>
        <p:spPr>
          <a:xfrm>
            <a:off x="6000685" y="936012"/>
            <a:ext cx="3084398" cy="733984"/>
          </a:xfrm>
          <a:prstGeom prst="roundRect">
            <a:avLst/>
          </a:prstGeom>
          <a:solidFill>
            <a:srgbClr val="F9E3F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ysClr val="windowText" lastClr="000000"/>
                </a:solidFill>
                <a:latin typeface="Calibri"/>
              </a:rPr>
              <a:t>4. Mental health sector contributions to addressing structural &amp; social determinants &amp; society wide issues impacting mental health and well-being </a:t>
            </a:r>
          </a:p>
        </p:txBody>
      </p:sp>
      <p:sp>
        <p:nvSpPr>
          <p:cNvPr id="51" name="Abgerundetes Rechteck 50">
            <a:extLst>
              <a:ext uri="{FF2B5EF4-FFF2-40B4-BE49-F238E27FC236}">
                <a16:creationId xmlns:a16="http://schemas.microsoft.com/office/drawing/2014/main" xmlns="" id="{E0C8BA1D-CD13-D945-94FC-0946D31CCB3D}"/>
              </a:ext>
            </a:extLst>
          </p:cNvPr>
          <p:cNvSpPr/>
          <p:nvPr/>
        </p:nvSpPr>
        <p:spPr>
          <a:xfrm rot="16200000">
            <a:off x="-553548" y="2724163"/>
            <a:ext cx="1468352" cy="189697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ysClr val="windowText" lastClr="000000"/>
                </a:solidFill>
                <a:latin typeface="Calibri"/>
              </a:rPr>
              <a:t>Policy Directives</a:t>
            </a:r>
          </a:p>
        </p:txBody>
      </p:sp>
      <p:sp>
        <p:nvSpPr>
          <p:cNvPr id="3" name="Abgerundetes Rechteck 8">
            <a:extLst>
              <a:ext uri="{FF2B5EF4-FFF2-40B4-BE49-F238E27FC236}">
                <a16:creationId xmlns:a16="http://schemas.microsoft.com/office/drawing/2014/main" xmlns="" id="{8241FF5B-1752-DB09-750C-50643D23E39B}"/>
              </a:ext>
            </a:extLst>
          </p:cNvPr>
          <p:cNvSpPr/>
          <p:nvPr/>
        </p:nvSpPr>
        <p:spPr>
          <a:xfrm>
            <a:off x="329301" y="1515195"/>
            <a:ext cx="2012901" cy="87911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Calibri"/>
              </a:rPr>
              <a:t>1.1. Coordinated rights-based community mental health &amp; primary care services &amp; supports</a:t>
            </a:r>
          </a:p>
        </p:txBody>
      </p:sp>
      <p:sp>
        <p:nvSpPr>
          <p:cNvPr id="5" name="Abgerundetes Rechteck 8">
            <a:extLst>
              <a:ext uri="{FF2B5EF4-FFF2-40B4-BE49-F238E27FC236}">
                <a16:creationId xmlns:a16="http://schemas.microsoft.com/office/drawing/2014/main" xmlns="" id="{D830CD1B-3161-FD23-3B48-53E99FA49254}"/>
              </a:ext>
            </a:extLst>
          </p:cNvPr>
          <p:cNvSpPr/>
          <p:nvPr/>
        </p:nvSpPr>
        <p:spPr>
          <a:xfrm>
            <a:off x="363300" y="2558631"/>
            <a:ext cx="2054074" cy="105909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Calibri"/>
              </a:rPr>
              <a:t>1.2. Partnerships for community inclusion, socioeconomic empowerment, &amp; protection &amp; promotion of rights</a:t>
            </a:r>
          </a:p>
        </p:txBody>
      </p:sp>
      <p:sp>
        <p:nvSpPr>
          <p:cNvPr id="6" name="Abgerundetes Rechteck 8">
            <a:extLst>
              <a:ext uri="{FF2B5EF4-FFF2-40B4-BE49-F238E27FC236}">
                <a16:creationId xmlns:a16="http://schemas.microsoft.com/office/drawing/2014/main" xmlns="" id="{FB6F11CD-8AC1-342C-8E15-CEA78436BBCB}"/>
              </a:ext>
            </a:extLst>
          </p:cNvPr>
          <p:cNvSpPr/>
          <p:nvPr/>
        </p:nvSpPr>
        <p:spPr>
          <a:xfrm>
            <a:off x="404473" y="3679544"/>
            <a:ext cx="2012902" cy="38600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Calibri"/>
              </a:rPr>
              <a:t>1.3. </a:t>
            </a:r>
            <a:r>
              <a:rPr lang="en-US" sz="1200" dirty="0" err="1">
                <a:solidFill>
                  <a:sysClr val="windowText" lastClr="000000"/>
                </a:solidFill>
                <a:latin typeface="Calibri"/>
              </a:rPr>
              <a:t>Deinstitutionalisation</a:t>
            </a:r>
            <a:endParaRPr lang="en-US" sz="120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7" name="Abgerundetes Rechteck 8">
            <a:extLst>
              <a:ext uri="{FF2B5EF4-FFF2-40B4-BE49-F238E27FC236}">
                <a16:creationId xmlns:a16="http://schemas.microsoft.com/office/drawing/2014/main" xmlns="" id="{57745D4A-9CDF-9349-2DC3-47C81D973265}"/>
              </a:ext>
            </a:extLst>
          </p:cNvPr>
          <p:cNvSpPr/>
          <p:nvPr/>
        </p:nvSpPr>
        <p:spPr>
          <a:xfrm>
            <a:off x="2378542" y="1632022"/>
            <a:ext cx="1629370" cy="74470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Calibri"/>
              </a:rPr>
              <a:t>2.1. Human resource development including role &amp; task sharing</a:t>
            </a:r>
          </a:p>
        </p:txBody>
      </p:sp>
      <p:sp>
        <p:nvSpPr>
          <p:cNvPr id="8" name="Abgerundetes Rechteck 8">
            <a:extLst>
              <a:ext uri="{FF2B5EF4-FFF2-40B4-BE49-F238E27FC236}">
                <a16:creationId xmlns:a16="http://schemas.microsoft.com/office/drawing/2014/main" xmlns="" id="{FC941ADB-AD02-6BF0-55EC-DDAAE0857A7F}"/>
              </a:ext>
            </a:extLst>
          </p:cNvPr>
          <p:cNvSpPr/>
          <p:nvPr/>
        </p:nvSpPr>
        <p:spPr>
          <a:xfrm>
            <a:off x="2463287" y="2674699"/>
            <a:ext cx="1541954" cy="59278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Calibri"/>
              </a:rPr>
              <a:t>2.2. Recruitment and retention of staff </a:t>
            </a:r>
          </a:p>
        </p:txBody>
      </p:sp>
      <p:sp>
        <p:nvSpPr>
          <p:cNvPr id="10" name="Abgerundetes Rechteck 8">
            <a:extLst>
              <a:ext uri="{FF2B5EF4-FFF2-40B4-BE49-F238E27FC236}">
                <a16:creationId xmlns:a16="http://schemas.microsoft.com/office/drawing/2014/main" xmlns="" id="{8FC76333-12E8-5C1B-8715-B4963846A8C5}"/>
              </a:ext>
            </a:extLst>
          </p:cNvPr>
          <p:cNvSpPr/>
          <p:nvPr/>
        </p:nvSpPr>
        <p:spPr>
          <a:xfrm>
            <a:off x="2474220" y="3422992"/>
            <a:ext cx="1531021" cy="65900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Calibri"/>
              </a:rPr>
              <a:t>2.3. Competency based curricula for  </a:t>
            </a:r>
            <a:r>
              <a:rPr lang="en-US" sz="1200" dirty="0">
                <a:solidFill>
                  <a:sysClr val="windowText" lastClr="000000"/>
                </a:solidFill>
              </a:rPr>
              <a:t>mental health </a:t>
            </a:r>
            <a:endParaRPr lang="en-US" sz="120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12" name="Abgerundetes Rechteck 8">
            <a:extLst>
              <a:ext uri="{FF2B5EF4-FFF2-40B4-BE49-F238E27FC236}">
                <a16:creationId xmlns:a16="http://schemas.microsoft.com/office/drawing/2014/main" xmlns="" id="{82308B9B-A2F3-8B6A-9D0C-10EB37D43628}"/>
              </a:ext>
            </a:extLst>
          </p:cNvPr>
          <p:cNvSpPr/>
          <p:nvPr/>
        </p:nvSpPr>
        <p:spPr>
          <a:xfrm>
            <a:off x="4087224" y="1730619"/>
            <a:ext cx="1719444" cy="692918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Calibri"/>
              </a:rPr>
              <a:t>3.1. </a:t>
            </a:r>
            <a:r>
              <a:rPr lang="en-US" sz="1200" dirty="0">
                <a:solidFill>
                  <a:sysClr val="windowText" lastClr="000000"/>
                </a:solidFill>
              </a:rPr>
              <a:t>Assessment of mental health and support needs </a:t>
            </a:r>
            <a:endParaRPr lang="en-US" sz="120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13" name="Abgerundetes Rechteck 8">
            <a:extLst>
              <a:ext uri="{FF2B5EF4-FFF2-40B4-BE49-F238E27FC236}">
                <a16:creationId xmlns:a16="http://schemas.microsoft.com/office/drawing/2014/main" xmlns="" id="{CC3169E2-900A-969C-372B-CACEEF27F2DE}"/>
              </a:ext>
            </a:extLst>
          </p:cNvPr>
          <p:cNvSpPr/>
          <p:nvPr/>
        </p:nvSpPr>
        <p:spPr>
          <a:xfrm>
            <a:off x="4111326" y="2580745"/>
            <a:ext cx="1770515" cy="969764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Calibri"/>
              </a:rPr>
              <a:t>3.2. </a:t>
            </a:r>
            <a:r>
              <a:rPr lang="en-US" sz="1200" dirty="0">
                <a:solidFill>
                  <a:sysClr val="windowText" lastClr="000000"/>
                </a:solidFill>
              </a:rPr>
              <a:t>Non-pharmacological interventions, ( lifestyle, psychological, social, economic  </a:t>
            </a:r>
            <a:endParaRPr lang="en-US" sz="120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14" name="Abgerundetes Rechteck 8">
            <a:extLst>
              <a:ext uri="{FF2B5EF4-FFF2-40B4-BE49-F238E27FC236}">
                <a16:creationId xmlns:a16="http://schemas.microsoft.com/office/drawing/2014/main" xmlns="" id="{0F0ACBC9-72B2-5D0A-C0D6-9BCB7C250AC4}"/>
              </a:ext>
            </a:extLst>
          </p:cNvPr>
          <p:cNvSpPr/>
          <p:nvPr/>
        </p:nvSpPr>
        <p:spPr>
          <a:xfrm>
            <a:off x="4152498" y="3707717"/>
            <a:ext cx="1770515" cy="473772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Calibri"/>
              </a:rPr>
              <a:t>3.3. Psychotropic drug interventions </a:t>
            </a:r>
          </a:p>
        </p:txBody>
      </p:sp>
      <p:sp>
        <p:nvSpPr>
          <p:cNvPr id="20" name="Abgerundetes Rechteck 8">
            <a:extLst>
              <a:ext uri="{FF2B5EF4-FFF2-40B4-BE49-F238E27FC236}">
                <a16:creationId xmlns:a16="http://schemas.microsoft.com/office/drawing/2014/main" xmlns="" id="{9BBCDC1C-E00E-704A-5631-725BB1405B3D}"/>
              </a:ext>
            </a:extLst>
          </p:cNvPr>
          <p:cNvSpPr/>
          <p:nvPr/>
        </p:nvSpPr>
        <p:spPr>
          <a:xfrm>
            <a:off x="5881840" y="1756853"/>
            <a:ext cx="3125571" cy="915356"/>
          </a:xfrm>
          <a:prstGeom prst="roundRect">
            <a:avLst>
              <a:gd name="adj" fmla="val 26381"/>
            </a:avLst>
          </a:prstGeom>
          <a:solidFill>
            <a:srgbClr val="F9E4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Calibri"/>
              </a:rPr>
              <a:t>4.1. Transforming mindsets, improving literacy to promote mental health &amp; combat stigma, discrimination &amp; exclusion of persons </a:t>
            </a:r>
            <a:r>
              <a:rPr lang="en-US" sz="1200" dirty="0" err="1">
                <a:solidFill>
                  <a:sysClr val="windowText" lastClr="000000"/>
                </a:solidFill>
                <a:latin typeface="Calibri"/>
              </a:rPr>
              <a:t>wth</a:t>
            </a:r>
            <a:r>
              <a:rPr lang="en-US" sz="1200" dirty="0">
                <a:solidFill>
                  <a:sysClr val="windowText" lastClr="000000"/>
                </a:solidFill>
                <a:latin typeface="Calibri"/>
              </a:rPr>
              <a:t> </a:t>
            </a:r>
            <a:r>
              <a:rPr lang="en-US" sz="1200" dirty="0" err="1">
                <a:solidFill>
                  <a:sysClr val="windowText" lastClr="000000"/>
                </a:solidFill>
                <a:latin typeface="Calibri"/>
              </a:rPr>
              <a:t>mh</a:t>
            </a:r>
            <a:r>
              <a:rPr lang="en-US" sz="1200" dirty="0">
                <a:solidFill>
                  <a:sysClr val="windowText" lastClr="000000"/>
                </a:solidFill>
                <a:latin typeface="Calibri"/>
              </a:rPr>
              <a:t> conditions and all marginalized groups</a:t>
            </a:r>
          </a:p>
        </p:txBody>
      </p:sp>
      <p:sp>
        <p:nvSpPr>
          <p:cNvPr id="26" name="Abgerundetes Rechteck 8">
            <a:extLst>
              <a:ext uri="{FF2B5EF4-FFF2-40B4-BE49-F238E27FC236}">
                <a16:creationId xmlns:a16="http://schemas.microsoft.com/office/drawing/2014/main" xmlns="" id="{862834C9-7424-8F18-A7EF-5FC3F690F869}"/>
              </a:ext>
            </a:extLst>
          </p:cNvPr>
          <p:cNvSpPr/>
          <p:nvPr/>
        </p:nvSpPr>
        <p:spPr>
          <a:xfrm>
            <a:off x="5987926" y="2802799"/>
            <a:ext cx="3047385" cy="436562"/>
          </a:xfrm>
          <a:prstGeom prst="roundRect">
            <a:avLst/>
          </a:prstGeom>
          <a:solidFill>
            <a:srgbClr val="F9E4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Calibri"/>
              </a:rPr>
              <a:t>4.2. Joint sector action on structural determinants &amp; society wide issues</a:t>
            </a:r>
          </a:p>
        </p:txBody>
      </p:sp>
      <p:sp>
        <p:nvSpPr>
          <p:cNvPr id="27" name="Abgerundetes Rechteck 8">
            <a:extLst>
              <a:ext uri="{FF2B5EF4-FFF2-40B4-BE49-F238E27FC236}">
                <a16:creationId xmlns:a16="http://schemas.microsoft.com/office/drawing/2014/main" xmlns="" id="{3757F0FA-EA14-6D0A-6F8E-D482600CBC7D}"/>
              </a:ext>
            </a:extLst>
          </p:cNvPr>
          <p:cNvSpPr/>
          <p:nvPr/>
        </p:nvSpPr>
        <p:spPr>
          <a:xfrm>
            <a:off x="6034631" y="3335508"/>
            <a:ext cx="2861159" cy="436562"/>
          </a:xfrm>
          <a:prstGeom prst="roundRect">
            <a:avLst/>
          </a:prstGeom>
          <a:solidFill>
            <a:srgbClr val="F9E4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Calibri"/>
              </a:rPr>
              <a:t>4.3 Mental health &amp; psychosocial support in humanitarian emergencies</a:t>
            </a:r>
          </a:p>
        </p:txBody>
      </p:sp>
      <p:sp>
        <p:nvSpPr>
          <p:cNvPr id="32" name="Abgerundetes Rechteck 8">
            <a:extLst>
              <a:ext uri="{FF2B5EF4-FFF2-40B4-BE49-F238E27FC236}">
                <a16:creationId xmlns:a16="http://schemas.microsoft.com/office/drawing/2014/main" xmlns="" id="{91014F4A-04ED-166E-A470-46EBD94D8607}"/>
              </a:ext>
            </a:extLst>
          </p:cNvPr>
          <p:cNvSpPr/>
          <p:nvPr/>
        </p:nvSpPr>
        <p:spPr>
          <a:xfrm>
            <a:off x="6129445" y="3872842"/>
            <a:ext cx="2826878" cy="304043"/>
          </a:xfrm>
          <a:prstGeom prst="roundRect">
            <a:avLst/>
          </a:prstGeom>
          <a:solidFill>
            <a:srgbClr val="F9E4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Calibri"/>
              </a:rPr>
              <a:t>4.4 Suicide prevention</a:t>
            </a:r>
          </a:p>
        </p:txBody>
      </p:sp>
      <p:sp>
        <p:nvSpPr>
          <p:cNvPr id="2" name="Abgerundetes Rechteck 1">
            <a:extLst>
              <a:ext uri="{FF2B5EF4-FFF2-40B4-BE49-F238E27FC236}">
                <a16:creationId xmlns:a16="http://schemas.microsoft.com/office/drawing/2014/main" xmlns="" id="{D4E2AE78-714A-FE3E-8578-25F932396AC2}"/>
              </a:ext>
            </a:extLst>
          </p:cNvPr>
          <p:cNvSpPr/>
          <p:nvPr/>
        </p:nvSpPr>
        <p:spPr>
          <a:xfrm>
            <a:off x="589021" y="4261683"/>
            <a:ext cx="7852400" cy="21196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ysClr val="windowText" lastClr="000000"/>
                </a:solidFill>
                <a:latin typeface="Calibri"/>
              </a:rPr>
              <a:t>5. </a:t>
            </a:r>
            <a:r>
              <a:rPr lang="en-US" sz="1200" b="1" dirty="0">
                <a:solidFill>
                  <a:sysClr val="windowText" lastClr="000000"/>
                </a:solidFill>
              </a:rPr>
              <a:t>Governance, accountability &amp; other enablers</a:t>
            </a:r>
            <a:endParaRPr lang="en-US" sz="1200" b="1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29" name="Abgerundetes Rechteck 28">
            <a:extLst>
              <a:ext uri="{FF2B5EF4-FFF2-40B4-BE49-F238E27FC236}">
                <a16:creationId xmlns:a16="http://schemas.microsoft.com/office/drawing/2014/main" xmlns="" id="{4A18DD54-1C54-CF91-95F0-3639A9266A86}"/>
              </a:ext>
            </a:extLst>
          </p:cNvPr>
          <p:cNvSpPr/>
          <p:nvPr/>
        </p:nvSpPr>
        <p:spPr>
          <a:xfrm rot="16200000">
            <a:off x="-150664" y="4683284"/>
            <a:ext cx="959930" cy="519439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ysClr val="windowText" lastClr="000000"/>
                </a:solidFill>
                <a:latin typeface="Calibri"/>
              </a:rPr>
              <a:t>Policy Directives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xmlns="" id="{2521EABF-5330-130F-DCAE-3A5C84521EAE}"/>
              </a:ext>
            </a:extLst>
          </p:cNvPr>
          <p:cNvSpPr txBox="1"/>
          <p:nvPr/>
        </p:nvSpPr>
        <p:spPr>
          <a:xfrm>
            <a:off x="2492900" y="417073"/>
            <a:ext cx="343011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ysClr val="windowText" lastClr="000000"/>
                </a:solidFill>
              </a:rPr>
              <a:t>POLICY AREAS FOR ACTION</a:t>
            </a:r>
          </a:p>
        </p:txBody>
      </p:sp>
      <p:sp>
        <p:nvSpPr>
          <p:cNvPr id="4" name="Abgerundetes Rechteck 8">
            <a:extLst>
              <a:ext uri="{FF2B5EF4-FFF2-40B4-BE49-F238E27FC236}">
                <a16:creationId xmlns:a16="http://schemas.microsoft.com/office/drawing/2014/main" xmlns="" id="{4BD64CA0-B3AC-BDEB-4B18-E0D1E4D142D1}"/>
              </a:ext>
            </a:extLst>
          </p:cNvPr>
          <p:cNvSpPr/>
          <p:nvPr/>
        </p:nvSpPr>
        <p:spPr>
          <a:xfrm>
            <a:off x="763127" y="4526622"/>
            <a:ext cx="1407580" cy="39580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Calibri"/>
              </a:rPr>
              <a:t>5.1.Leadership and accountability</a:t>
            </a:r>
          </a:p>
        </p:txBody>
      </p:sp>
      <p:sp>
        <p:nvSpPr>
          <p:cNvPr id="18" name="Abgerundetes Rechteck 8">
            <a:extLst>
              <a:ext uri="{FF2B5EF4-FFF2-40B4-BE49-F238E27FC236}">
                <a16:creationId xmlns:a16="http://schemas.microsoft.com/office/drawing/2014/main" xmlns="" id="{9AC9FA5E-23D9-886E-83D4-4D70F79213A9}"/>
              </a:ext>
            </a:extLst>
          </p:cNvPr>
          <p:cNvSpPr/>
          <p:nvPr/>
        </p:nvSpPr>
        <p:spPr>
          <a:xfrm>
            <a:off x="3561249" y="4526622"/>
            <a:ext cx="2320591" cy="48630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Calibri"/>
              </a:rPr>
              <a:t>5.3. Persons with lived experience, civil society, people and community</a:t>
            </a:r>
          </a:p>
        </p:txBody>
      </p:sp>
      <p:sp>
        <p:nvSpPr>
          <p:cNvPr id="30" name="Abgerundetes Rechteck 8">
            <a:extLst>
              <a:ext uri="{FF2B5EF4-FFF2-40B4-BE49-F238E27FC236}">
                <a16:creationId xmlns:a16="http://schemas.microsoft.com/office/drawing/2014/main" xmlns="" id="{D7C98E7A-3AF3-7A31-3E02-A5A6B894285F}"/>
              </a:ext>
            </a:extLst>
          </p:cNvPr>
          <p:cNvSpPr/>
          <p:nvPr/>
        </p:nvSpPr>
        <p:spPr>
          <a:xfrm>
            <a:off x="2328142" y="4526621"/>
            <a:ext cx="1075673" cy="41167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Calibri"/>
              </a:rPr>
              <a:t>5.2. Finance and budget</a:t>
            </a:r>
          </a:p>
        </p:txBody>
      </p:sp>
      <p:sp>
        <p:nvSpPr>
          <p:cNvPr id="35" name="Abgerundetes Rechteck 8">
            <a:extLst>
              <a:ext uri="{FF2B5EF4-FFF2-40B4-BE49-F238E27FC236}">
                <a16:creationId xmlns:a16="http://schemas.microsoft.com/office/drawing/2014/main" xmlns="" id="{4F8B7943-1088-F87B-1636-2ECE12161E6D}"/>
              </a:ext>
            </a:extLst>
          </p:cNvPr>
          <p:cNvSpPr/>
          <p:nvPr/>
        </p:nvSpPr>
        <p:spPr>
          <a:xfrm>
            <a:off x="6129445" y="4558443"/>
            <a:ext cx="2372672" cy="36398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ysClr val="windowText" lastClr="000000"/>
                </a:solidFill>
                <a:latin typeface="Calibri"/>
              </a:rPr>
              <a:t>5.4 Rights-based legislation related to mental health</a:t>
            </a:r>
          </a:p>
        </p:txBody>
      </p:sp>
      <p:sp>
        <p:nvSpPr>
          <p:cNvPr id="39" name="Pfeil nach oben 38">
            <a:extLst>
              <a:ext uri="{FF2B5EF4-FFF2-40B4-BE49-F238E27FC236}">
                <a16:creationId xmlns:a16="http://schemas.microsoft.com/office/drawing/2014/main" xmlns="" id="{B1E5818C-FE10-5EE1-3618-9A3F6F50BCB9}"/>
              </a:ext>
            </a:extLst>
          </p:cNvPr>
          <p:cNvSpPr/>
          <p:nvPr/>
        </p:nvSpPr>
        <p:spPr>
          <a:xfrm>
            <a:off x="1390337" y="4150927"/>
            <a:ext cx="195598" cy="259151"/>
          </a:xfrm>
          <a:prstGeom prst="upArrow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0" name="Pfeil nach oben 39">
            <a:extLst>
              <a:ext uri="{FF2B5EF4-FFF2-40B4-BE49-F238E27FC236}">
                <a16:creationId xmlns:a16="http://schemas.microsoft.com/office/drawing/2014/main" xmlns="" id="{A1AA21D8-6806-C828-6440-1E4A7A5D6B16}"/>
              </a:ext>
            </a:extLst>
          </p:cNvPr>
          <p:cNvSpPr/>
          <p:nvPr/>
        </p:nvSpPr>
        <p:spPr>
          <a:xfrm>
            <a:off x="2768178" y="4148555"/>
            <a:ext cx="195598" cy="259151"/>
          </a:xfrm>
          <a:prstGeom prst="upArrow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1" name="Pfeil nach oben 40">
            <a:extLst>
              <a:ext uri="{FF2B5EF4-FFF2-40B4-BE49-F238E27FC236}">
                <a16:creationId xmlns:a16="http://schemas.microsoft.com/office/drawing/2014/main" xmlns="" id="{1C37EFD8-5775-B8FE-7BA0-2738F53C5E7D}"/>
              </a:ext>
            </a:extLst>
          </p:cNvPr>
          <p:cNvSpPr/>
          <p:nvPr/>
        </p:nvSpPr>
        <p:spPr>
          <a:xfrm>
            <a:off x="6155210" y="4194109"/>
            <a:ext cx="195598" cy="259151"/>
          </a:xfrm>
          <a:prstGeom prst="upArrow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2" name="Pfeil nach oben 41">
            <a:extLst>
              <a:ext uri="{FF2B5EF4-FFF2-40B4-BE49-F238E27FC236}">
                <a16:creationId xmlns:a16="http://schemas.microsoft.com/office/drawing/2014/main" xmlns="" id="{C2BD7B9A-0990-D526-014A-B925C58EA30E}"/>
              </a:ext>
            </a:extLst>
          </p:cNvPr>
          <p:cNvSpPr/>
          <p:nvPr/>
        </p:nvSpPr>
        <p:spPr>
          <a:xfrm>
            <a:off x="7802559" y="4171559"/>
            <a:ext cx="195598" cy="259151"/>
          </a:xfrm>
          <a:prstGeom prst="upArrow">
            <a:avLst/>
          </a:prstGeom>
          <a:solidFill>
            <a:schemeClr val="bg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25716AD9-8CFA-4E09-8010-A06CD01CB352}"/>
              </a:ext>
            </a:extLst>
          </p:cNvPr>
          <p:cNvSpPr txBox="1"/>
          <p:nvPr/>
        </p:nvSpPr>
        <p:spPr>
          <a:xfrm>
            <a:off x="589021" y="5033183"/>
            <a:ext cx="8367905" cy="957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25" b="1" dirty="0">
                <a:solidFill>
                  <a:srgbClr val="000000"/>
                </a:solidFill>
                <a:highlight>
                  <a:srgbClr val="FFFF00"/>
                </a:highlight>
                <a:latin typeface="Calibri"/>
              </a:rPr>
              <a:t>Emphasis throughout</a:t>
            </a:r>
          </a:p>
          <a:p>
            <a:r>
              <a:rPr lang="en-US" sz="1125" dirty="0">
                <a:solidFill>
                  <a:srgbClr val="000000"/>
                </a:solidFill>
                <a:latin typeface="Calibri"/>
              </a:rPr>
              <a:t>Human rights, person centered and recovery approach</a:t>
            </a:r>
          </a:p>
          <a:p>
            <a:r>
              <a:rPr lang="en-US" sz="1125" dirty="0">
                <a:solidFill>
                  <a:srgbClr val="000000"/>
                </a:solidFill>
                <a:latin typeface="Calibri"/>
              </a:rPr>
              <a:t>Meaningful participation of persons with lived experience, stigma, discrimination, changing attitudes, mindsets &amp; culture in </a:t>
            </a:r>
            <a:r>
              <a:rPr lang="en-US" sz="1125" dirty="0" err="1">
                <a:solidFill>
                  <a:srgbClr val="000000"/>
                </a:solidFill>
                <a:latin typeface="Calibri"/>
              </a:rPr>
              <a:t>mh</a:t>
            </a:r>
            <a:endParaRPr lang="en-US" sz="1125" dirty="0">
              <a:solidFill>
                <a:srgbClr val="000000"/>
              </a:solidFill>
              <a:latin typeface="Calibri"/>
            </a:endParaRPr>
          </a:p>
          <a:p>
            <a:r>
              <a:rPr lang="en-US" sz="1125" b="1" dirty="0">
                <a:solidFill>
                  <a:srgbClr val="000000">
                    <a:lumMod val="85000"/>
                    <a:lumOff val="15000"/>
                  </a:srgbClr>
                </a:solidFill>
                <a:highlight>
                  <a:srgbClr val="FFFF00"/>
                </a:highlight>
                <a:latin typeface="Calibri"/>
                <a:cs typeface="Calibri" panose="020F0502020204030204" pitchFamily="34" charset="0"/>
              </a:rPr>
              <a:t>Key considerations throughout: </a:t>
            </a:r>
          </a:p>
          <a:p>
            <a:r>
              <a:rPr lang="en-US" sz="1125" dirty="0">
                <a:solidFill>
                  <a:srgbClr val="000000">
                    <a:lumMod val="85000"/>
                    <a:lumOff val="15000"/>
                  </a:srgbClr>
                </a:solidFill>
                <a:latin typeface="Calibri"/>
                <a:cs typeface="Calibri" panose="020F0502020204030204" pitchFamily="34" charset="0"/>
              </a:rPr>
              <a:t>age; gender; sexual orientation; disability; immigration &amp; refugee status; race &amp; ethnicity, amongst others</a:t>
            </a:r>
          </a:p>
        </p:txBody>
      </p:sp>
    </p:spTree>
    <p:extLst>
      <p:ext uri="{BB962C8B-B14F-4D97-AF65-F5344CB8AC3E}">
        <p14:creationId xmlns:p14="http://schemas.microsoft.com/office/powerpoint/2010/main" val="329883940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F7A9236F-E756-4956-904F-35F7CCD886BD}"/>
              </a:ext>
            </a:extLst>
          </p:cNvPr>
          <p:cNvSpPr txBox="1"/>
          <p:nvPr/>
        </p:nvSpPr>
        <p:spPr>
          <a:xfrm>
            <a:off x="4615472" y="2551153"/>
            <a:ext cx="3001068" cy="35317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lvl="1" indent="-257175">
              <a:buFont typeface="Calibri" panose="020F0502020204030204" pitchFamily="34" charset="0"/>
              <a:buChar char="−"/>
              <a:defRPr/>
            </a:pPr>
            <a:r>
              <a:rPr lang="es-ES" sz="1500" dirty="0">
                <a:solidFill>
                  <a:srgbClr val="222222"/>
                </a:solidFill>
                <a:latin typeface="Calibri"/>
              </a:rPr>
              <a:t>Access</a:t>
            </a:r>
            <a:r>
              <a:rPr lang="x-none" sz="1500" dirty="0">
                <a:solidFill>
                  <a:srgbClr val="222222"/>
                </a:solidFill>
                <a:latin typeface="Calibri"/>
              </a:rPr>
              <a:t> to quality mental health care </a:t>
            </a:r>
          </a:p>
          <a:p>
            <a:pPr marL="257175" lvl="1" indent="-257175">
              <a:buFont typeface="Calibri" panose="020F0502020204030204" pitchFamily="34" charset="0"/>
              <a:buChar char="−"/>
              <a:defRPr/>
            </a:pPr>
            <a:r>
              <a:rPr lang="x-none" sz="1500" dirty="0">
                <a:solidFill>
                  <a:srgbClr val="222222"/>
                </a:solidFill>
                <a:latin typeface="Calibri"/>
              </a:rPr>
              <a:t>Community-based mental health services </a:t>
            </a:r>
          </a:p>
          <a:p>
            <a:pPr marL="257175" lvl="1" indent="-257175">
              <a:buFont typeface="Calibri" panose="020F0502020204030204" pitchFamily="34" charset="0"/>
              <a:buChar char="−"/>
              <a:defRPr/>
            </a:pPr>
            <a:r>
              <a:rPr lang="x-none" sz="1500" dirty="0">
                <a:solidFill>
                  <a:srgbClr val="222222"/>
                </a:solidFill>
                <a:latin typeface="Calibri"/>
              </a:rPr>
              <a:t>Non-discrimination</a:t>
            </a:r>
          </a:p>
          <a:p>
            <a:pPr marL="257175" lvl="1" indent="-257175">
              <a:buFont typeface="Calibri" panose="020F0502020204030204" pitchFamily="34" charset="0"/>
              <a:buChar char="−"/>
              <a:defRPr/>
            </a:pPr>
            <a:r>
              <a:rPr lang="x-none" sz="1500" dirty="0">
                <a:solidFill>
                  <a:srgbClr val="222222"/>
                </a:solidFill>
                <a:latin typeface="Calibri"/>
              </a:rPr>
              <a:t>Legal capacity and supported decision-making </a:t>
            </a:r>
          </a:p>
          <a:p>
            <a:pPr marL="257175" lvl="1" indent="-257175">
              <a:buFont typeface="Calibri" panose="020F0502020204030204" pitchFamily="34" charset="0"/>
              <a:buChar char="−"/>
              <a:defRPr/>
            </a:pPr>
            <a:r>
              <a:rPr lang="en-US" sz="1500" dirty="0">
                <a:solidFill>
                  <a:srgbClr val="222222"/>
                </a:solidFill>
                <a:latin typeface="Calibri"/>
              </a:rPr>
              <a:t>Eliminating </a:t>
            </a:r>
            <a:r>
              <a:rPr lang="x-none" sz="1500" dirty="0">
                <a:solidFill>
                  <a:srgbClr val="222222"/>
                </a:solidFill>
                <a:latin typeface="Calibri"/>
              </a:rPr>
              <a:t>coercive practices </a:t>
            </a:r>
            <a:r>
              <a:rPr lang="en-US" sz="1500" dirty="0">
                <a:solidFill>
                  <a:srgbClr val="222222"/>
                </a:solidFill>
                <a:latin typeface="Calibri"/>
              </a:rPr>
              <a:t>in mental health care</a:t>
            </a:r>
            <a:endParaRPr lang="x-none" sz="1500" dirty="0">
              <a:solidFill>
                <a:srgbClr val="222222"/>
              </a:solidFill>
              <a:latin typeface="Calibri"/>
            </a:endParaRPr>
          </a:p>
          <a:p>
            <a:pPr marL="257175" lvl="1" indent="-257175">
              <a:buFont typeface="Calibri" panose="020F0502020204030204" pitchFamily="34" charset="0"/>
              <a:buChar char="−"/>
              <a:defRPr/>
            </a:pPr>
            <a:r>
              <a:rPr lang="x-none" sz="1500" dirty="0">
                <a:solidFill>
                  <a:srgbClr val="222222"/>
                </a:solidFill>
                <a:latin typeface="Calibri"/>
              </a:rPr>
              <a:t>Independent living and community inclusion </a:t>
            </a:r>
          </a:p>
          <a:p>
            <a:pPr marL="257175" lvl="1" indent="-257175">
              <a:buFont typeface="Calibri" panose="020F0502020204030204" pitchFamily="34" charset="0"/>
              <a:buChar char="−"/>
              <a:defRPr/>
            </a:pPr>
            <a:r>
              <a:rPr lang="en-GB" sz="1500" dirty="0">
                <a:solidFill>
                  <a:srgbClr val="222222"/>
                </a:solidFill>
                <a:latin typeface="Calibri"/>
              </a:rPr>
              <a:t>C</a:t>
            </a:r>
            <a:r>
              <a:rPr lang="x-none" sz="1500" dirty="0">
                <a:solidFill>
                  <a:srgbClr val="222222"/>
                </a:solidFill>
                <a:latin typeface="Calibri"/>
              </a:rPr>
              <a:t>riminal law and justice</a:t>
            </a:r>
          </a:p>
          <a:p>
            <a:pPr marL="257175" lvl="1" indent="-257175">
              <a:buFont typeface="Calibri" panose="020F0502020204030204" pitchFamily="34" charset="0"/>
              <a:buChar char="−"/>
              <a:defRPr/>
            </a:pPr>
            <a:r>
              <a:rPr lang="x-none" sz="1500" dirty="0">
                <a:solidFill>
                  <a:srgbClr val="222222"/>
                </a:solidFill>
                <a:latin typeface="Calibri"/>
              </a:rPr>
              <a:t>Participation </a:t>
            </a:r>
          </a:p>
          <a:p>
            <a:pPr marL="257175" lvl="1" indent="-257175">
              <a:buFont typeface="Calibri" panose="020F0502020204030204" pitchFamily="34" charset="0"/>
              <a:buChar char="−"/>
              <a:defRPr/>
            </a:pPr>
            <a:r>
              <a:rPr lang="x-none" sz="1500" dirty="0">
                <a:solidFill>
                  <a:srgbClr val="222222"/>
                </a:solidFill>
                <a:latin typeface="Calibri"/>
              </a:rPr>
              <a:t>Accountability </a:t>
            </a:r>
          </a:p>
          <a:p>
            <a:pPr>
              <a:defRPr/>
            </a:pPr>
            <a:endParaRPr lang="en-US" sz="1350" dirty="0">
              <a:solidFill>
                <a:srgbClr val="000000"/>
              </a:solidFill>
            </a:endParaRPr>
          </a:p>
        </p:txBody>
      </p:sp>
      <p:sp>
        <p:nvSpPr>
          <p:cNvPr id="10" name="TextBox 2">
            <a:extLst>
              <a:ext uri="{FF2B5EF4-FFF2-40B4-BE49-F238E27FC236}">
                <a16:creationId xmlns:a16="http://schemas.microsoft.com/office/drawing/2014/main" xmlns="" id="{BC5B0324-2CC0-CA40-E847-61BF0D4658C9}"/>
              </a:ext>
            </a:extLst>
          </p:cNvPr>
          <p:cNvSpPr txBox="1"/>
          <p:nvPr/>
        </p:nvSpPr>
        <p:spPr>
          <a:xfrm>
            <a:off x="1405244" y="2039528"/>
            <a:ext cx="51040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altLang="fr-FR" sz="1800" b="1" dirty="0">
                <a:solidFill>
                  <a:srgbClr val="000000"/>
                </a:solidFill>
                <a:latin typeface="Calibri"/>
              </a:rPr>
              <a:t>Human-rights aligned GUIDANCE on:</a:t>
            </a:r>
          </a:p>
          <a:p>
            <a:pPr>
              <a:defRPr/>
            </a:pPr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11" name="Right Brace 4">
            <a:extLst>
              <a:ext uri="{FF2B5EF4-FFF2-40B4-BE49-F238E27FC236}">
                <a16:creationId xmlns:a16="http://schemas.microsoft.com/office/drawing/2014/main" xmlns="" id="{0EE73851-C5E5-6CE6-DC7F-223EF637C324}"/>
              </a:ext>
            </a:extLst>
          </p:cNvPr>
          <p:cNvSpPr/>
          <p:nvPr/>
        </p:nvSpPr>
        <p:spPr>
          <a:xfrm>
            <a:off x="4074186" y="2487259"/>
            <a:ext cx="220557" cy="3301139"/>
          </a:xfrm>
          <a:prstGeom prst="rightBrace">
            <a:avLst/>
          </a:prstGeom>
          <a:ln w="38100">
            <a:solidFill>
              <a:srgbClr val="10B8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en-US" sz="90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xmlns="" id="{762DB7DE-2048-647C-A355-4F14D39740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1682" y="3492167"/>
            <a:ext cx="2941784" cy="9450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038" indent="-192451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8000" indent="-262431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5510" indent="-155866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600075" lvl="2" indent="-342900">
              <a:buClr>
                <a:srgbClr val="004A99"/>
              </a:buClr>
              <a:defRPr/>
            </a:pPr>
            <a:r>
              <a:rPr lang="en-US" sz="1800" kern="0" dirty="0">
                <a:solidFill>
                  <a:srgbClr val="000000"/>
                </a:solidFill>
                <a:latin typeface="Calibri"/>
              </a:rPr>
              <a:t>Mental health related legislation (2023)</a:t>
            </a:r>
          </a:p>
          <a:p>
            <a:pPr marL="257175" lvl="2" indent="0">
              <a:buClr>
                <a:srgbClr val="004A99"/>
              </a:buClr>
              <a:buNone/>
              <a:defRPr/>
            </a:pPr>
            <a:endParaRPr lang="en-US" sz="2400" kern="0" dirty="0">
              <a:solidFill>
                <a:srgbClr val="000000"/>
              </a:solidFill>
              <a:latin typeface="Calibri"/>
            </a:endParaRPr>
          </a:p>
          <a:p>
            <a:pPr marL="257175" lvl="2" indent="0">
              <a:buClr>
                <a:srgbClr val="004A99"/>
              </a:buClr>
              <a:buNone/>
              <a:defRPr/>
            </a:pPr>
            <a:endParaRPr lang="en-GB" sz="2400" kern="0" dirty="0">
              <a:solidFill>
                <a:srgbClr val="000000"/>
              </a:solidFill>
              <a:latin typeface="Calibri"/>
            </a:endParaRPr>
          </a:p>
          <a:p>
            <a:pPr marL="257175" lvl="2" indent="0">
              <a:buClr>
                <a:srgbClr val="004A99"/>
              </a:buClr>
              <a:buNone/>
              <a:defRPr/>
            </a:pPr>
            <a:endParaRPr lang="en-GB" sz="2400" kern="0" dirty="0">
              <a:solidFill>
                <a:srgbClr val="000000"/>
              </a:solidFill>
              <a:latin typeface="Calibri"/>
            </a:endParaRPr>
          </a:p>
          <a:p>
            <a:pPr marL="739430" lvl="2" indent="-257175">
              <a:buClr>
                <a:srgbClr val="000000"/>
              </a:buClr>
              <a:buFont typeface="Wingdings" panose="05000000000000000000" pitchFamily="2" charset="2"/>
              <a:buChar char="Ø"/>
              <a:defRPr/>
            </a:pPr>
            <a:endParaRPr lang="en-GB" altLang="fr-FR" sz="2400" kern="0" dirty="0">
              <a:solidFill>
                <a:srgbClr val="0070C0"/>
              </a:solidFill>
              <a:latin typeface="Calibri"/>
            </a:endParaRPr>
          </a:p>
          <a:p>
            <a:pPr lvl="1" indent="-257175">
              <a:lnSpc>
                <a:spcPct val="80000"/>
              </a:lnSpc>
              <a:buClr>
                <a:srgbClr val="000000"/>
              </a:buClr>
              <a:buSzPct val="116000"/>
              <a:defRPr/>
            </a:pPr>
            <a:endParaRPr lang="en-US" altLang="zh-CN" sz="2400" kern="0" dirty="0">
              <a:solidFill>
                <a:srgbClr val="0070C0"/>
              </a:solidFill>
              <a:latin typeface="Calibri"/>
            </a:endParaRPr>
          </a:p>
        </p:txBody>
      </p:sp>
      <p:sp>
        <p:nvSpPr>
          <p:cNvPr id="14" name="Rectangle 7">
            <a:extLst>
              <a:ext uri="{FF2B5EF4-FFF2-40B4-BE49-F238E27FC236}">
                <a16:creationId xmlns:a16="http://schemas.microsoft.com/office/drawing/2014/main" xmlns="" id="{978C9BCD-7E42-5806-0F08-7D7B77E16C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2200" y="846533"/>
            <a:ext cx="6885000" cy="945000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76200" dir="5400000" algn="ctr" rotWithShape="0">
              <a:schemeClr val="tx1">
                <a:alpha val="40000"/>
              </a:schemeClr>
            </a:outerShdw>
          </a:effectLst>
        </p:spPr>
        <p:txBody>
          <a:bodyPr wrap="square" tIns="81000" rIns="540000" bIns="162000" anchor="ctr" anchorCtr="0">
            <a:no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None/>
              <a:defRPr/>
            </a:pPr>
            <a:r>
              <a:rPr lang="en-US" altLang="en-US" sz="1800" b="1" dirty="0">
                <a:solidFill>
                  <a:srgbClr val="FFFFFF"/>
                </a:solidFill>
                <a:latin typeface="Ebrima"/>
              </a:rPr>
              <a:t>Rights-based Law Reform</a:t>
            </a:r>
          </a:p>
        </p:txBody>
      </p:sp>
      <p:pic>
        <p:nvPicPr>
          <p:cNvPr id="17" name="Picture 3">
            <a:extLst>
              <a:ext uri="{FF2B5EF4-FFF2-40B4-BE49-F238E27FC236}">
                <a16:creationId xmlns:a16="http://schemas.microsoft.com/office/drawing/2014/main" xmlns="" id="{094F9CB1-9DCE-FF9E-268C-163542C149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857250"/>
            <a:ext cx="977166" cy="80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1231736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B26894DE-BA23-4670-A18F-E7A9DAE8B5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Rectangle 7">
            <a:extLst>
              <a:ext uri="{FF2B5EF4-FFF2-40B4-BE49-F238E27FC236}">
                <a16:creationId xmlns:a16="http://schemas.microsoft.com/office/drawing/2014/main" xmlns="" id="{BAF63EC5-0BED-7D8D-18CA-1D2D473E0D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4113"/>
            <a:ext cx="9144000" cy="945000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76200" dir="5400000" algn="ctr" rotWithShape="0">
              <a:schemeClr val="tx1">
                <a:alpha val="40000"/>
              </a:schemeClr>
            </a:outerShdw>
          </a:effectLst>
        </p:spPr>
        <p:txBody>
          <a:bodyPr wrap="square" tIns="81000" rIns="540000" bIns="162000" anchor="ctr" anchorCtr="0">
            <a:no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brima"/>
                <a:ea typeface="+mn-ea"/>
                <a:cs typeface="Arial" charset="0"/>
              </a:rPr>
              <a:t>WHO QualityRights resources &amp; links</a:t>
            </a:r>
          </a:p>
        </p:txBody>
      </p:sp>
      <p:pic>
        <p:nvPicPr>
          <p:cNvPr id="13" name="Picture 3">
            <a:extLst>
              <a:ext uri="{FF2B5EF4-FFF2-40B4-BE49-F238E27FC236}">
                <a16:creationId xmlns:a16="http://schemas.microsoft.com/office/drawing/2014/main" xmlns="" id="{205942A0-381F-B92A-621C-D23CBB0E62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587" y="35693"/>
            <a:ext cx="977166" cy="80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  <p:sp>
        <p:nvSpPr>
          <p:cNvPr id="8" name="Rectangle 11">
            <a:extLst>
              <a:ext uri="{FF2B5EF4-FFF2-40B4-BE49-F238E27FC236}">
                <a16:creationId xmlns:a16="http://schemas.microsoft.com/office/drawing/2014/main" xmlns="" id="{44D519C0-5F57-4834-811B-709A6346F4F4}"/>
              </a:ext>
            </a:extLst>
          </p:cNvPr>
          <p:cNvSpPr/>
          <p:nvPr/>
        </p:nvSpPr>
        <p:spPr>
          <a:xfrm>
            <a:off x="105387" y="1217233"/>
            <a:ext cx="4172147" cy="54014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342900">
              <a:spcAft>
                <a:spcPts val="600"/>
              </a:spcAft>
              <a:defRPr/>
            </a:pPr>
            <a:r>
              <a:rPr lang="en-US" b="1" dirty="0">
                <a:solidFill>
                  <a:schemeClr val="bg1"/>
                </a:solidFill>
                <a:highlight>
                  <a:srgbClr val="000000"/>
                </a:highlight>
                <a:latin typeface="+mj-lt"/>
              </a:rPr>
              <a:t>Capacity building</a:t>
            </a:r>
          </a:p>
          <a:p>
            <a:pPr marL="214313" lvl="1" indent="-214313" defTabSz="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b="1" dirty="0">
                <a:solidFill>
                  <a:srgbClr val="000000"/>
                </a:solidFill>
                <a:latin typeface="+mj-lt"/>
              </a:rPr>
              <a:t>QR training &amp; guidance materials: </a:t>
            </a:r>
            <a:r>
              <a:rPr lang="en-US" sz="1400" dirty="0">
                <a:solidFill>
                  <a:srgbClr val="0070C0"/>
                </a:solidFill>
                <a:latin typeface="+mj-lt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www.who.int/publications/i/item/who-qualityrights-guidance-and-training-tools</a:t>
            </a:r>
            <a:endParaRPr lang="en-US" sz="1400" dirty="0">
              <a:solidFill>
                <a:srgbClr val="0070C0"/>
              </a:solidFill>
              <a:latin typeface="+mj-lt"/>
            </a:endParaRPr>
          </a:p>
          <a:p>
            <a:pPr marL="214313" lvl="1" indent="-214313" defTabSz="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1400" b="1" dirty="0">
                <a:solidFill>
                  <a:srgbClr val="000000"/>
                </a:solidFill>
                <a:latin typeface="+mj-lt"/>
              </a:rPr>
              <a:t>QR e-training on mental health, recovery &amp; inclusion:</a:t>
            </a:r>
            <a:r>
              <a:rPr lang="en-GB" sz="1400" dirty="0">
                <a:solidFill>
                  <a:srgbClr val="000000"/>
                </a:solidFill>
                <a:latin typeface="+mj-lt"/>
              </a:rPr>
              <a:t/>
            </a:r>
            <a:br>
              <a:rPr lang="en-GB" sz="1400" dirty="0">
                <a:solidFill>
                  <a:srgbClr val="000000"/>
                </a:solidFill>
                <a:latin typeface="+mj-lt"/>
              </a:rPr>
            </a:br>
            <a:r>
              <a:rPr lang="en-GB" sz="1400" dirty="0">
                <a:solidFill>
                  <a:srgbClr val="0070C0"/>
                </a:solidFill>
                <a:latin typeface="+mj-lt"/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www.who.int/teams/mental-health-and-substance-use/policy-law-rights/qr-e-training</a:t>
            </a:r>
            <a:endParaRPr lang="en-GB" sz="1400" dirty="0">
              <a:solidFill>
                <a:srgbClr val="0070C0"/>
              </a:solidFill>
              <a:latin typeface="+mj-lt"/>
            </a:endParaRPr>
          </a:p>
          <a:p>
            <a:pPr marL="214313" lvl="1" indent="-214313" defTabSz="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GB" sz="1400" dirty="0">
              <a:solidFill>
                <a:srgbClr val="0070C0"/>
              </a:solidFill>
              <a:latin typeface="+mj-lt"/>
            </a:endParaRPr>
          </a:p>
          <a:p>
            <a:pPr marL="0" lvl="1" algn="just" defTabSz="342900">
              <a:spcAft>
                <a:spcPts val="600"/>
              </a:spcAft>
              <a:defRPr/>
            </a:pPr>
            <a:r>
              <a:rPr lang="en-US" b="1" dirty="0">
                <a:solidFill>
                  <a:schemeClr val="bg1"/>
                </a:solidFill>
                <a:highlight>
                  <a:srgbClr val="000000"/>
                </a:highlight>
                <a:latin typeface="+mj-lt"/>
              </a:rPr>
              <a:t>Creating rights-based community services</a:t>
            </a:r>
          </a:p>
          <a:p>
            <a:pPr marL="214313" lvl="1" indent="-214313" defTabSz="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b="1" dirty="0">
                <a:solidFill>
                  <a:srgbClr val="000000"/>
                </a:solidFill>
                <a:latin typeface="+mj-lt"/>
              </a:rPr>
              <a:t>Guidance &amp; technical packages on community mental health services: 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/>
            </a:r>
            <a:br>
              <a:rPr lang="en-US" sz="1400" dirty="0">
                <a:solidFill>
                  <a:srgbClr val="000000"/>
                </a:solidFill>
                <a:latin typeface="+mj-lt"/>
              </a:rPr>
            </a:br>
            <a:r>
              <a:rPr lang="en-US" sz="1400" dirty="0">
                <a:solidFill>
                  <a:srgbClr val="0070C0"/>
                </a:solidFill>
                <a:latin typeface="+mj-lt"/>
                <a:ea typeface="Ebrima" panose="02000000000000000000" pitchFamily="2" charset="0"/>
                <a:cs typeface="Ebrima" panose="02000000000000000000" pitchFamily="2" charset="0"/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www.who.int/publications/i/item/guidance-and-technical-packages-on-community-mental-health-services</a:t>
            </a:r>
            <a:r>
              <a:rPr lang="en-US" sz="1400" dirty="0">
                <a:solidFill>
                  <a:srgbClr val="0070C0"/>
                </a:solidFill>
                <a:latin typeface="+mj-lt"/>
                <a:ea typeface="Ebrima" panose="02000000000000000000" pitchFamily="2" charset="0"/>
                <a:cs typeface="Ebrima" panose="02000000000000000000" pitchFamily="2" charset="0"/>
              </a:rPr>
              <a:t> </a:t>
            </a:r>
          </a:p>
          <a:p>
            <a:pPr marL="214313" lvl="1" indent="-214313" defTabSz="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b="1" dirty="0">
                <a:solidFill>
                  <a:srgbClr val="000000"/>
                </a:solidFill>
                <a:latin typeface="+mj-lt"/>
              </a:rPr>
              <a:t>QR service assessment toolkit: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/>
            </a:r>
            <a:br>
              <a:rPr lang="en-US" sz="1400" dirty="0">
                <a:solidFill>
                  <a:srgbClr val="000000"/>
                </a:solidFill>
                <a:latin typeface="+mj-lt"/>
              </a:rPr>
            </a:br>
            <a:r>
              <a:rPr lang="en-US" sz="1400" dirty="0">
                <a:solidFill>
                  <a:srgbClr val="0070C0"/>
                </a:solidFill>
                <a:latin typeface="+mj-lt"/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www.who.int/publications/i/item/9789241548410</a:t>
            </a:r>
            <a:endParaRPr lang="en-US" sz="1400" dirty="0">
              <a:solidFill>
                <a:srgbClr val="0070C0"/>
              </a:solidFill>
              <a:latin typeface="+mj-lt"/>
            </a:endParaRPr>
          </a:p>
          <a:p>
            <a:pPr marL="214313" lvl="1" indent="-214313" defTabSz="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b="1" dirty="0">
                <a:solidFill>
                  <a:srgbClr val="000000"/>
                </a:solidFill>
                <a:latin typeface="+mj-lt"/>
              </a:rPr>
              <a:t>QR module on transforming services &amp; promoting rights</a:t>
            </a:r>
            <a:r>
              <a:rPr lang="en-US" sz="1400" dirty="0">
                <a:solidFill>
                  <a:srgbClr val="000000"/>
                </a:solidFill>
                <a:latin typeface="+mj-lt"/>
              </a:rPr>
              <a:t>:</a:t>
            </a:r>
            <a:br>
              <a:rPr lang="en-US" sz="1400" dirty="0">
                <a:solidFill>
                  <a:srgbClr val="000000"/>
                </a:solidFill>
                <a:latin typeface="+mj-lt"/>
              </a:rPr>
            </a:br>
            <a:r>
              <a:rPr lang="en-US" sz="1400" dirty="0">
                <a:solidFill>
                  <a:srgbClr val="0070C0"/>
                </a:solidFill>
                <a:latin typeface="+mj-lt"/>
                <a:hlinkClick r:id="rId8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www.who.int/publications/i/item/9789241516815</a:t>
            </a:r>
            <a:r>
              <a:rPr lang="en-US" sz="1400" dirty="0">
                <a:solidFill>
                  <a:srgbClr val="0070C0"/>
                </a:solidFill>
                <a:latin typeface="+mj-lt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C1CADCB2-EA71-4919-BC3B-D5B0AE947021}"/>
              </a:ext>
            </a:extLst>
          </p:cNvPr>
          <p:cNvSpPr txBox="1"/>
          <p:nvPr/>
        </p:nvSpPr>
        <p:spPr>
          <a:xfrm>
            <a:off x="4417016" y="1117885"/>
            <a:ext cx="4172147" cy="557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342900">
              <a:spcAft>
                <a:spcPts val="600"/>
              </a:spcAft>
              <a:defRPr/>
            </a:pPr>
            <a:r>
              <a:rPr lang="en-US" b="1" dirty="0">
                <a:solidFill>
                  <a:schemeClr val="bg1"/>
                </a:solidFill>
                <a:highlight>
                  <a:srgbClr val="000000"/>
                </a:highlight>
                <a:latin typeface="+mj-lt"/>
              </a:rPr>
              <a:t>Participation</a:t>
            </a:r>
          </a:p>
          <a:p>
            <a:r>
              <a:rPr lang="en-GB" sz="1400" b="1" dirty="0">
                <a:solidFill>
                  <a:srgbClr val="000000"/>
                </a:solidFill>
                <a:latin typeface="+mj-lt"/>
              </a:rPr>
              <a:t>WHO Guidance on one-to-one peer support </a:t>
            </a:r>
          </a:p>
          <a:p>
            <a:r>
              <a:rPr lang="en-GB" sz="1400" dirty="0">
                <a:solidFill>
                  <a:srgbClr val="0070C0"/>
                </a:solidFill>
                <a:latin typeface="+mj-lt"/>
                <a:hlinkClick r:id="rId9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apps.who.int/iris/bitstream/handle/10665/329591/9789241516785-eng.pdf</a:t>
            </a:r>
            <a:r>
              <a:rPr lang="en-GB" sz="1400" dirty="0">
                <a:solidFill>
                  <a:srgbClr val="0070C0"/>
                </a:solidFill>
                <a:latin typeface="+mj-lt"/>
              </a:rPr>
              <a:t> </a:t>
            </a:r>
          </a:p>
          <a:p>
            <a:r>
              <a:rPr lang="en-GB" sz="1400" b="1" dirty="0">
                <a:solidFill>
                  <a:srgbClr val="000000"/>
                </a:solidFill>
                <a:latin typeface="+mj-lt"/>
              </a:rPr>
              <a:t>WHO Guidance on peer support groups</a:t>
            </a:r>
          </a:p>
          <a:p>
            <a:r>
              <a:rPr lang="en-GB" sz="1400" dirty="0">
                <a:solidFill>
                  <a:srgbClr val="0070C0"/>
                </a:solidFill>
                <a:latin typeface="+mj-lt"/>
                <a:hlinkClick r:id="rId10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apps.who.int/iris/bitstream/handle/10665/329594/9789241516778-eng.pdf</a:t>
            </a:r>
            <a:r>
              <a:rPr lang="en-GB" sz="1400" dirty="0">
                <a:solidFill>
                  <a:srgbClr val="0070C0"/>
                </a:solidFill>
                <a:latin typeface="+mj-lt"/>
              </a:rPr>
              <a:t> </a:t>
            </a:r>
          </a:p>
          <a:p>
            <a:r>
              <a:rPr lang="en-GB" sz="1400" b="1" dirty="0">
                <a:solidFill>
                  <a:srgbClr val="000000"/>
                </a:solidFill>
                <a:latin typeface="+mj-lt"/>
              </a:rPr>
              <a:t>WHO Guidance </a:t>
            </a:r>
            <a:r>
              <a:rPr lang="en-US" sz="1400" b="1" dirty="0">
                <a:solidFill>
                  <a:srgbClr val="000000"/>
                </a:solidFill>
                <a:latin typeface="+mj-lt"/>
              </a:rPr>
              <a:t>setting-</a:t>
            </a:r>
            <a:r>
              <a:rPr lang="en-GB" sz="1400" b="1" dirty="0">
                <a:solidFill>
                  <a:srgbClr val="000000"/>
                </a:solidFill>
                <a:latin typeface="+mj-lt"/>
              </a:rPr>
              <a:t>up civil society organizations</a:t>
            </a:r>
          </a:p>
          <a:p>
            <a:r>
              <a:rPr lang="en-GB" sz="1400" dirty="0">
                <a:solidFill>
                  <a:srgbClr val="0070C0"/>
                </a:solidFill>
                <a:latin typeface="+mj-lt"/>
                <a:hlinkClick r:id="rId11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apps.who.int/iris/bitstream/handle/10665/329589/9789241516808-eng.pdf</a:t>
            </a:r>
            <a:r>
              <a:rPr lang="en-GB" sz="1400" dirty="0">
                <a:solidFill>
                  <a:srgbClr val="0070C0"/>
                </a:solidFill>
                <a:latin typeface="+mj-lt"/>
              </a:rPr>
              <a:t> </a:t>
            </a:r>
          </a:p>
          <a:p>
            <a:r>
              <a:rPr lang="en-GB" sz="1400" b="1" dirty="0">
                <a:solidFill>
                  <a:srgbClr val="000000"/>
                </a:solidFill>
                <a:latin typeface="+mj-lt"/>
              </a:rPr>
              <a:t>WHO Guidance on advocacy campaigns</a:t>
            </a:r>
          </a:p>
          <a:p>
            <a:r>
              <a:rPr lang="en-US" sz="1400" dirty="0">
                <a:solidFill>
                  <a:srgbClr val="0070C0"/>
                </a:solidFill>
                <a:latin typeface="+mj-lt"/>
                <a:ea typeface="Ebrima" panose="02000000000000000000" pitchFamily="2" charset="0"/>
                <a:cs typeface="Ebrima" panose="02000000000000000000" pitchFamily="2" charset="0"/>
                <a:hlinkClick r:id="rId1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apps.who.int/iris/bitstream/handle/10665/329587/9789241516792-eng.pdf</a:t>
            </a:r>
            <a:r>
              <a:rPr lang="en-US" sz="1400" dirty="0">
                <a:solidFill>
                  <a:srgbClr val="0070C0"/>
                </a:solidFill>
                <a:latin typeface="+mj-lt"/>
                <a:ea typeface="Ebrima" panose="02000000000000000000" pitchFamily="2" charset="0"/>
                <a:cs typeface="Ebrima" panose="02000000000000000000" pitchFamily="2" charset="0"/>
              </a:rPr>
              <a:t> </a:t>
            </a:r>
          </a:p>
          <a:p>
            <a:endParaRPr lang="en-US" sz="1400" dirty="0">
              <a:solidFill>
                <a:srgbClr val="0070C0"/>
              </a:solidFill>
              <a:latin typeface="+mj-lt"/>
              <a:ea typeface="Ebrima" panose="02000000000000000000" pitchFamily="2" charset="0"/>
              <a:cs typeface="Ebrima" panose="02000000000000000000" pitchFamily="2" charset="0"/>
            </a:endParaRPr>
          </a:p>
          <a:p>
            <a:endParaRPr lang="en-US" sz="500" dirty="0">
              <a:solidFill>
                <a:srgbClr val="0070C0"/>
              </a:solidFill>
              <a:latin typeface="+mj-lt"/>
              <a:ea typeface="Ebrima" panose="02000000000000000000" pitchFamily="2" charset="0"/>
              <a:cs typeface="Ebrima" panose="02000000000000000000" pitchFamily="2" charset="0"/>
            </a:endParaRPr>
          </a:p>
          <a:p>
            <a:endParaRPr lang="en-US" sz="100" dirty="0">
              <a:solidFill>
                <a:srgbClr val="000000"/>
              </a:solidFill>
              <a:latin typeface="+mj-lt"/>
              <a:ea typeface="Ebrima" panose="02000000000000000000" pitchFamily="2" charset="0"/>
              <a:cs typeface="Ebrima" panose="02000000000000000000" pitchFamily="2" charset="0"/>
            </a:endParaRPr>
          </a:p>
          <a:p>
            <a:pPr marL="0" lvl="1" defTabSz="342900">
              <a:spcAft>
                <a:spcPts val="600"/>
              </a:spcAft>
              <a:defRPr/>
            </a:pPr>
            <a:r>
              <a:rPr lang="en-US" b="1" dirty="0">
                <a:solidFill>
                  <a:schemeClr val="bg1"/>
                </a:solidFill>
                <a:highlight>
                  <a:srgbClr val="000000"/>
                </a:highlight>
                <a:latin typeface="+mj-lt"/>
              </a:rPr>
              <a:t>Policy and law reform</a:t>
            </a:r>
          </a:p>
          <a:p>
            <a:r>
              <a:rPr lang="en-US" sz="1400" b="1" dirty="0">
                <a:solidFill>
                  <a:srgbClr val="000000"/>
                </a:solidFill>
                <a:latin typeface="+mj-lt"/>
              </a:rPr>
              <a:t>WHO/OHCHR Guidance on mental health, human rights &amp; law – </a:t>
            </a:r>
            <a:r>
              <a:rPr lang="en-US" sz="1400" b="1" dirty="0">
                <a:solidFill>
                  <a:srgbClr val="FF0000"/>
                </a:solidFill>
                <a:latin typeface="+mj-lt"/>
              </a:rPr>
              <a:t>coming soon</a:t>
            </a:r>
          </a:p>
          <a:p>
            <a:r>
              <a:rPr lang="en-US" sz="1400" b="1" dirty="0">
                <a:solidFill>
                  <a:srgbClr val="000000"/>
                </a:solidFill>
                <a:latin typeface="+mj-lt"/>
              </a:rPr>
              <a:t>WHO Guidance on mental health polices &amp; strategic action plans - </a:t>
            </a:r>
            <a:r>
              <a:rPr lang="en-US" sz="1400" b="1" dirty="0">
                <a:solidFill>
                  <a:srgbClr val="FF0000"/>
                </a:solidFill>
                <a:latin typeface="+mj-lt"/>
              </a:rPr>
              <a:t>coming soon</a:t>
            </a:r>
          </a:p>
          <a:p>
            <a:r>
              <a:rPr lang="en-US" sz="1400" b="1" dirty="0">
                <a:solidFill>
                  <a:srgbClr val="000000"/>
                </a:solidFill>
                <a:latin typeface="+mj-lt"/>
              </a:rPr>
              <a:t>WHO MiNDbank online database: </a:t>
            </a:r>
          </a:p>
          <a:p>
            <a:r>
              <a:rPr lang="en-US" sz="1400" dirty="0">
                <a:solidFill>
                  <a:srgbClr val="0070C0"/>
                </a:solidFill>
                <a:latin typeface="+mj-lt"/>
                <a:ea typeface="Ebrima" panose="02000000000000000000" pitchFamily="2" charset="0"/>
                <a:cs typeface="Ebrima" panose="02000000000000000000" pitchFamily="2" charset="0"/>
                <a:hlinkClick r:id="rId1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extranet.who.int/mindbank/</a:t>
            </a:r>
            <a:endParaRPr lang="en-US" sz="1400" dirty="0">
              <a:solidFill>
                <a:srgbClr val="0070C0"/>
              </a:solidFill>
              <a:latin typeface="+mj-lt"/>
              <a:ea typeface="Ebrima" panose="02000000000000000000" pitchFamily="2" charset="0"/>
              <a:cs typeface="Ebrima" panose="02000000000000000000" pitchFamily="2" charset="0"/>
            </a:endParaRPr>
          </a:p>
          <a:p>
            <a:endParaRPr lang="en-US" sz="1400" dirty="0">
              <a:solidFill>
                <a:srgbClr val="0070C0"/>
              </a:solidFill>
              <a:latin typeface="+mj-lt"/>
              <a:ea typeface="Ebrima" panose="02000000000000000000" pitchFamily="2" charset="0"/>
              <a:cs typeface="Ebrima" panose="02000000000000000000" pitchFamily="2" charset="0"/>
            </a:endParaRPr>
          </a:p>
          <a:p>
            <a:r>
              <a:rPr lang="en-GB" sz="1400" b="1" dirty="0">
                <a:solidFill>
                  <a:srgbClr val="000000"/>
                </a:solidFill>
                <a:highlight>
                  <a:srgbClr val="FFFF00"/>
                </a:highlight>
                <a:latin typeface="Calibri"/>
              </a:rPr>
              <a:t>QualityRights country implementation portal: </a:t>
            </a:r>
            <a:r>
              <a:rPr lang="en-GB" sz="1400" dirty="0">
                <a:solidFill>
                  <a:srgbClr val="0070C0"/>
                </a:solidFill>
                <a:highlight>
                  <a:srgbClr val="FFFF00"/>
                </a:highlight>
                <a:latin typeface="Calibri"/>
                <a:hlinkClick r:id="rId14"/>
              </a:rPr>
              <a:t>https://qualityrights.org/</a:t>
            </a:r>
            <a:r>
              <a:rPr lang="en-GB" sz="1400" dirty="0">
                <a:solidFill>
                  <a:srgbClr val="0070C0"/>
                </a:solidFill>
                <a:highlight>
                  <a:srgbClr val="FFFF00"/>
                </a:highlight>
                <a:latin typeface="Calibri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584308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 descr="WHO-EN-white-H">
            <a:extLst>
              <a:ext uri="{FF2B5EF4-FFF2-40B4-BE49-F238E27FC236}">
                <a16:creationId xmlns:a16="http://schemas.microsoft.com/office/drawing/2014/main" xmlns="" id="{52E98643-8F7A-4704-896E-5F758B9E06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361" y="5598676"/>
            <a:ext cx="2720339" cy="886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oogle Shape;96;p1">
            <a:extLst>
              <a:ext uri="{FF2B5EF4-FFF2-40B4-BE49-F238E27FC236}">
                <a16:creationId xmlns:a16="http://schemas.microsoft.com/office/drawing/2014/main" xmlns="" id="{70DC10F9-8A55-ED45-B099-0B07C3408844}"/>
              </a:ext>
            </a:extLst>
          </p:cNvPr>
          <p:cNvGrpSpPr/>
          <p:nvPr/>
        </p:nvGrpSpPr>
        <p:grpSpPr>
          <a:xfrm rot="10800000">
            <a:off x="-27087" y="5634533"/>
            <a:ext cx="9199051" cy="1257337"/>
            <a:chOff x="-44772" y="-14288"/>
            <a:chExt cx="3473771" cy="894956"/>
          </a:xfrm>
        </p:grpSpPr>
        <p:sp>
          <p:nvSpPr>
            <p:cNvPr id="11" name="Google Shape;97;p1">
              <a:extLst>
                <a:ext uri="{FF2B5EF4-FFF2-40B4-BE49-F238E27FC236}">
                  <a16:creationId xmlns:a16="http://schemas.microsoft.com/office/drawing/2014/main" xmlns="" id="{8C7EBAC1-C3D0-4D4A-8FFF-EA3AAFC0A297}"/>
                </a:ext>
              </a:extLst>
            </p:cNvPr>
            <p:cNvSpPr/>
            <p:nvPr/>
          </p:nvSpPr>
          <p:spPr>
            <a:xfrm rot="10800000">
              <a:off x="714370" y="-1283"/>
              <a:ext cx="2714625" cy="814944"/>
            </a:xfrm>
            <a:prstGeom prst="rtTriangle">
              <a:avLst/>
            </a:prstGeom>
            <a:solidFill>
              <a:srgbClr val="4472C4">
                <a:alpha val="20392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" name="Google Shape;98;p1">
              <a:extLst>
                <a:ext uri="{FF2B5EF4-FFF2-40B4-BE49-F238E27FC236}">
                  <a16:creationId xmlns:a16="http://schemas.microsoft.com/office/drawing/2014/main" xmlns="" id="{1971C816-E835-3947-93DA-758C55FEB842}"/>
                </a:ext>
              </a:extLst>
            </p:cNvPr>
            <p:cNvSpPr/>
            <p:nvPr/>
          </p:nvSpPr>
          <p:spPr>
            <a:xfrm rot="10800000">
              <a:off x="714371" y="-1"/>
              <a:ext cx="2714625" cy="654491"/>
            </a:xfrm>
            <a:prstGeom prst="rtTriangle">
              <a:avLst/>
            </a:prstGeom>
            <a:solidFill>
              <a:srgbClr val="4472C4">
                <a:alpha val="474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" name="Google Shape;99;p1">
              <a:extLst>
                <a:ext uri="{FF2B5EF4-FFF2-40B4-BE49-F238E27FC236}">
                  <a16:creationId xmlns:a16="http://schemas.microsoft.com/office/drawing/2014/main" xmlns="" id="{D34942E1-347A-5441-A72F-4491D7C99D36}"/>
                </a:ext>
              </a:extLst>
            </p:cNvPr>
            <p:cNvSpPr/>
            <p:nvPr/>
          </p:nvSpPr>
          <p:spPr>
            <a:xfrm rot="10800000">
              <a:off x="714374" y="-14288"/>
              <a:ext cx="2714625" cy="471488"/>
            </a:xfrm>
            <a:prstGeom prst="rtTriangle">
              <a:avLst/>
            </a:prstGeom>
            <a:solidFill>
              <a:srgbClr val="4472C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100;p1">
              <a:extLst>
                <a:ext uri="{FF2B5EF4-FFF2-40B4-BE49-F238E27FC236}">
                  <a16:creationId xmlns:a16="http://schemas.microsoft.com/office/drawing/2014/main" xmlns="" id="{9233F82E-3239-5043-8402-165ED74CE679}"/>
                </a:ext>
              </a:extLst>
            </p:cNvPr>
            <p:cNvSpPr/>
            <p:nvPr/>
          </p:nvSpPr>
          <p:spPr>
            <a:xfrm rot="10800000" flipH="1">
              <a:off x="-42353" y="-6118"/>
              <a:ext cx="2895611" cy="886786"/>
            </a:xfrm>
            <a:prstGeom prst="rtTriangle">
              <a:avLst/>
            </a:prstGeom>
            <a:solidFill>
              <a:srgbClr val="B3C6E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101;p1">
              <a:extLst>
                <a:ext uri="{FF2B5EF4-FFF2-40B4-BE49-F238E27FC236}">
                  <a16:creationId xmlns:a16="http://schemas.microsoft.com/office/drawing/2014/main" xmlns="" id="{628B596E-A301-574F-9C0A-15F3A3E5D198}"/>
                </a:ext>
              </a:extLst>
            </p:cNvPr>
            <p:cNvSpPr/>
            <p:nvPr/>
          </p:nvSpPr>
          <p:spPr>
            <a:xfrm rot="10800000" flipH="1">
              <a:off x="-44772" y="-6117"/>
              <a:ext cx="3045150" cy="714376"/>
            </a:xfrm>
            <a:prstGeom prst="rtTriangle">
              <a:avLst/>
            </a:prstGeom>
            <a:solidFill>
              <a:srgbClr val="4472C4">
                <a:alpha val="47450"/>
              </a:srgb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9" name="Picture 3" descr="WHO-EN-white-H">
            <a:extLst>
              <a:ext uri="{FF2B5EF4-FFF2-40B4-BE49-F238E27FC236}">
                <a16:creationId xmlns:a16="http://schemas.microsoft.com/office/drawing/2014/main" xmlns="" id="{92684BD7-DE22-B347-B309-DF032D3C12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0388" y="6247835"/>
            <a:ext cx="1545505" cy="5037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3">
            <a:extLst>
              <a:ext uri="{FF2B5EF4-FFF2-40B4-BE49-F238E27FC236}">
                <a16:creationId xmlns:a16="http://schemas.microsoft.com/office/drawing/2014/main" xmlns="" id="{EDCFAA39-3F25-1301-2109-D561E5EE21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2888" cy="107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  <p:sp>
        <p:nvSpPr>
          <p:cNvPr id="19" name="Text Box 5">
            <a:extLst>
              <a:ext uri="{FF2B5EF4-FFF2-40B4-BE49-F238E27FC236}">
                <a16:creationId xmlns:a16="http://schemas.microsoft.com/office/drawing/2014/main" xmlns="" id="{236FC699-AFB9-7A10-84CA-DA1C2CA6D8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19591" y="2723622"/>
            <a:ext cx="3704818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03773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THANK YOU!</a:t>
            </a:r>
            <a:endParaRPr kumimoji="0" lang="en-GB" altLang="en-US" sz="6000" b="1" i="0" u="none" strike="noStrike" kern="1200" cap="none" spc="0" normalizeH="0" baseline="0" noProof="0" dirty="0">
              <a:ln>
                <a:noFill/>
              </a:ln>
              <a:solidFill>
                <a:srgbClr val="003773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7461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1C244D0C-C44F-402A-ADFA-4D5983852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A4B3278-631C-41C2-AF33-9CD77602E6D6}" type="slidenum">
              <a:rPr kumimoji="0" lang="en-GB" sz="1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xmlns="" id="{53CEED83-3F81-79E8-4302-BF9932DA7B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4400" y="-14289"/>
            <a:ext cx="9180000" cy="1260000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76200" dir="5400000" algn="ctr" rotWithShape="0">
              <a:schemeClr val="tx1">
                <a:alpha val="40000"/>
              </a:schemeClr>
            </a:outerShdw>
          </a:effectLst>
        </p:spPr>
        <p:txBody>
          <a:bodyPr wrap="square" tIns="108000" rIns="720000" bIns="216000" anchor="ctr" anchorCtr="0">
            <a:no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brima"/>
                <a:ea typeface="+mn-ea"/>
                <a:cs typeface="Arial" charset="0"/>
              </a:rPr>
              <a:t>     Key CRPD rights relevant to mental health?</a:t>
            </a:r>
            <a:r>
              <a:rPr kumimoji="0" lang="en-US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brima"/>
                <a:ea typeface="+mn-ea"/>
                <a:cs typeface="Arial" charset="0"/>
              </a:rPr>
              <a:t>   </a:t>
            </a:r>
            <a:endParaRPr kumimoji="0" lang="en-US" sz="2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brima" panose="02000000000000000000" pitchFamily="2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pic>
        <p:nvPicPr>
          <p:cNvPr id="6" name="Picture 3">
            <a:extLst>
              <a:ext uri="{FF2B5EF4-FFF2-40B4-BE49-F238E27FC236}">
                <a16:creationId xmlns:a16="http://schemas.microsoft.com/office/drawing/2014/main" xmlns="" id="{5FF80787-11F5-4C21-92AF-0CC8F1056A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1" y="0"/>
            <a:ext cx="1302888" cy="107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8E257259-9969-4B81-9339-C46CEDD4E69E}"/>
              </a:ext>
            </a:extLst>
          </p:cNvPr>
          <p:cNvSpPr txBox="1">
            <a:spLocks/>
          </p:cNvSpPr>
          <p:nvPr/>
        </p:nvSpPr>
        <p:spPr>
          <a:xfrm>
            <a:off x="1534602" y="2110701"/>
            <a:ext cx="6273579" cy="31451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038" indent="-192451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8000" indent="-262431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5510" indent="-155866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 defTabSz="4572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endParaRPr lang="en-US" sz="2200" dirty="0"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US" sz="1800" kern="0" dirty="0">
              <a:latin typeface="+mj-lt"/>
              <a:cs typeface="Calibri" pitchFamily="34" charset="0"/>
            </a:endParaRPr>
          </a:p>
          <a:p>
            <a:pPr>
              <a:defRPr/>
            </a:pPr>
            <a:endParaRPr lang="en-US" sz="3600" kern="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8F9F5E94-ADDC-4EA7-B279-545CFBCCF2AC}"/>
              </a:ext>
            </a:extLst>
          </p:cNvPr>
          <p:cNvSpPr txBox="1"/>
          <p:nvPr/>
        </p:nvSpPr>
        <p:spPr>
          <a:xfrm>
            <a:off x="631462" y="1945773"/>
            <a:ext cx="7881075" cy="39674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tIns="90000" bIns="90000">
            <a:spAutoFit/>
          </a:bodyPr>
          <a:lstStyle/>
          <a:p>
            <a:pPr marL="285750" indent="-285750" defTabSz="4572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latin typeface="Calibri" panose="020F0502020204030204" pitchFamily="34" charset="0"/>
                <a:cs typeface="Times New Roman" panose="02020603050405020304" pitchFamily="18" charset="0"/>
              </a:rPr>
              <a:t>Legal capacity and supported decision making (Art 12)</a:t>
            </a:r>
          </a:p>
          <a:p>
            <a:pPr marL="285750" indent="-285750" defTabSz="4572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endParaRPr lang="en-US" sz="220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defTabSz="4572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latin typeface="Calibri" panose="020F0502020204030204" pitchFamily="34" charset="0"/>
                <a:cs typeface="Times New Roman" panose="02020603050405020304" pitchFamily="18" charset="0"/>
              </a:rPr>
              <a:t>Liberty and Security of person (Art 14)</a:t>
            </a:r>
          </a:p>
          <a:p>
            <a:pPr marL="285750" indent="-285750" defTabSz="4572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endParaRPr lang="en-US" sz="220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defTabSz="4572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latin typeface="Calibri" panose="020F0502020204030204" pitchFamily="34" charset="0"/>
                <a:cs typeface="Times New Roman" panose="02020603050405020304" pitchFamily="18" charset="0"/>
              </a:rPr>
              <a:t>Independent community living (Art 19)</a:t>
            </a:r>
          </a:p>
          <a:p>
            <a:pPr marL="285750" indent="-285750" defTabSz="4572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endParaRPr lang="en-US" sz="2200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defTabSz="4572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latin typeface="Calibri" panose="020F0502020204030204" pitchFamily="34" charset="0"/>
                <a:cs typeface="Times New Roman" panose="02020603050405020304" pitchFamily="18" charset="0"/>
              </a:rPr>
              <a:t>Right to health (Art 25)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GB" sz="220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89795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7">
            <a:extLst>
              <a:ext uri="{FF2B5EF4-FFF2-40B4-BE49-F238E27FC236}">
                <a16:creationId xmlns:a16="http://schemas.microsoft.com/office/drawing/2014/main" xmlns="" id="{DE3F9E9E-76B2-4C6B-AFEC-93B594FB1DB0}"/>
              </a:ext>
            </a:extLst>
          </p:cNvPr>
          <p:cNvSpPr txBox="1">
            <a:spLocks/>
          </p:cNvSpPr>
          <p:nvPr/>
        </p:nvSpPr>
        <p:spPr bwMode="auto">
          <a:xfrm>
            <a:off x="2088450" y="159329"/>
            <a:ext cx="5437760" cy="648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89701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0383" algn="l"/>
              </a:tabLst>
              <a:defRPr sz="2000" b="0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8000"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6095"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4154"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32209"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GB" sz="4000" kern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Rights based law reform</a:t>
            </a:r>
          </a:p>
          <a:p>
            <a:pPr algn="ctr"/>
            <a:endParaRPr lang="en-US" sz="2250" kern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39F53F70-C561-45E3-8D5A-1ADE44DD3E88}"/>
              </a:ext>
            </a:extLst>
          </p:cNvPr>
          <p:cNvSpPr txBox="1"/>
          <p:nvPr/>
        </p:nvSpPr>
        <p:spPr>
          <a:xfrm>
            <a:off x="651444" y="1774350"/>
            <a:ext cx="7881075" cy="35336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180000" tIns="180000" rIns="180000" bIns="180000">
            <a:spAutoFit/>
          </a:bodyPr>
          <a:lstStyle/>
          <a:p>
            <a:pPr marL="457200" indent="-45720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2200" dirty="0">
                <a:latin typeface="+mn-lt"/>
              </a:rPr>
              <a:t>Build capacity to </a:t>
            </a:r>
            <a:r>
              <a:rPr lang="en-GB" sz="2200" b="1" dirty="0">
                <a:latin typeface="+mn-lt"/>
              </a:rPr>
              <a:t>combat stigma and discrimination </a:t>
            </a:r>
            <a:r>
              <a:rPr lang="en-GB" sz="2200" dirty="0">
                <a:latin typeface="+mn-lt"/>
              </a:rPr>
              <a:t>and promote human rights and recovery</a:t>
            </a:r>
          </a:p>
          <a:p>
            <a:pPr marL="457200" indent="-45720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2200" dirty="0">
                <a:latin typeface="+mn-lt"/>
              </a:rPr>
              <a:t>Create </a:t>
            </a:r>
            <a:r>
              <a:rPr lang="en-GB" sz="2200" b="1" dirty="0">
                <a:latin typeface="+mn-lt"/>
              </a:rPr>
              <a:t>community-based services </a:t>
            </a:r>
            <a:r>
              <a:rPr lang="en-GB" sz="2200" dirty="0">
                <a:latin typeface="+mn-lt"/>
              </a:rPr>
              <a:t>and </a:t>
            </a:r>
            <a:r>
              <a:rPr lang="en-GB" sz="2200" b="1" dirty="0">
                <a:latin typeface="+mn-lt"/>
              </a:rPr>
              <a:t>supports</a:t>
            </a:r>
            <a:r>
              <a:rPr lang="en-GB" sz="2200" dirty="0">
                <a:latin typeface="+mn-lt"/>
              </a:rPr>
              <a:t> that respect and promote human rights</a:t>
            </a:r>
          </a:p>
          <a:p>
            <a:pPr marL="457200" indent="-45720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2200" dirty="0">
                <a:latin typeface="+mn-lt"/>
              </a:rPr>
              <a:t>Promote the </a:t>
            </a:r>
            <a:r>
              <a:rPr lang="en-GB" sz="2200" b="1" dirty="0">
                <a:latin typeface="+mn-lt"/>
              </a:rPr>
              <a:t>participation</a:t>
            </a:r>
            <a:r>
              <a:rPr lang="en-GB" sz="2200" dirty="0">
                <a:latin typeface="+mn-lt"/>
              </a:rPr>
              <a:t> of persons with lived experience and support civil society</a:t>
            </a:r>
          </a:p>
          <a:p>
            <a:pPr marL="457200" indent="-457200">
              <a:spcBef>
                <a:spcPts val="0"/>
              </a:spcBef>
              <a:spcAft>
                <a:spcPts val="1200"/>
              </a:spcAft>
              <a:buFont typeface="Wingdings" pitchFamily="2" charset="2"/>
              <a:buChar char="§"/>
            </a:pPr>
            <a:r>
              <a:rPr lang="en-GB" sz="2200" dirty="0">
                <a:latin typeface="+mn-lt"/>
              </a:rPr>
              <a:t>Reform national </a:t>
            </a:r>
            <a:r>
              <a:rPr lang="en-GB" sz="2200" b="1" dirty="0">
                <a:latin typeface="+mn-lt"/>
              </a:rPr>
              <a:t>policies and legislation </a:t>
            </a:r>
            <a:r>
              <a:rPr lang="en-GB" sz="2200" dirty="0">
                <a:latin typeface="+mn-lt"/>
              </a:rPr>
              <a:t>in line with the CRPD and other international human rights standards</a:t>
            </a: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xmlns="" id="{0B5DBBCE-5E14-70FB-8267-C69B97C1A1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4400" y="-14289"/>
            <a:ext cx="9180000" cy="1260000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76200" dir="5400000" algn="ctr" rotWithShape="0">
              <a:schemeClr val="tx1">
                <a:alpha val="40000"/>
              </a:schemeClr>
            </a:outerShdw>
          </a:effectLst>
        </p:spPr>
        <p:txBody>
          <a:bodyPr wrap="square" tIns="108000" rIns="720000" bIns="216000" anchor="ctr" anchorCtr="0">
            <a:no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None/>
            </a:pPr>
            <a:endParaRPr lang="en-US" altLang="en-US" sz="2000" b="1" dirty="0">
              <a:solidFill>
                <a:schemeClr val="bg1"/>
              </a:solidFill>
              <a:latin typeface="Ebrima"/>
            </a:endParaRPr>
          </a:p>
          <a:p>
            <a:pPr algn="ctr">
              <a:spcBef>
                <a:spcPct val="0"/>
              </a:spcBef>
              <a:buNone/>
            </a:pPr>
            <a:r>
              <a:rPr lang="en-US" altLang="en-US" sz="2400" b="1" dirty="0">
                <a:solidFill>
                  <a:schemeClr val="bg1"/>
                </a:solidFill>
                <a:latin typeface="Ebrima"/>
              </a:rPr>
              <a:t>WHO QualityRights objectives </a:t>
            </a:r>
            <a:endParaRPr lang="en-US" sz="2400" b="1" dirty="0">
              <a:solidFill>
                <a:schemeClr val="bg1"/>
              </a:solidFill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xmlns="" id="{0CD3E6B4-9C9D-74F5-5C1E-C5F850BF71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2888" cy="107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719064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8C515C0-D437-4C17-87FF-253A13922BA5}"/>
              </a:ext>
            </a:extLst>
          </p:cNvPr>
          <p:cNvSpPr txBox="1"/>
          <p:nvPr/>
        </p:nvSpPr>
        <p:spPr>
          <a:xfrm>
            <a:off x="805209" y="1775797"/>
            <a:ext cx="7533581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sz="20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Attitude and mindset change is fundamental for rights based mental health reform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000" b="0" kern="1200" dirty="0">
              <a:solidFill>
                <a:schemeClr val="tx1"/>
              </a:solidFill>
              <a:latin typeface="+mj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sz="20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Shifts in attitudes to:</a:t>
            </a:r>
          </a:p>
          <a:p>
            <a:pPr marL="800900" lvl="1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20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mbat stigma and discrimination</a:t>
            </a:r>
          </a:p>
          <a:p>
            <a:pPr marL="800900" lvl="1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en-US" sz="2000" dirty="0">
                <a:latin typeface="+mj-lt"/>
              </a:rPr>
              <a:t>ensure people are seen as rights holders (respect for legal capacity; freedom from coercion etc.) </a:t>
            </a:r>
            <a:endParaRPr lang="en-US" sz="2000" b="0" kern="1200" dirty="0">
              <a:solidFill>
                <a:schemeClr val="tx1"/>
              </a:solidFill>
              <a:latin typeface="+mj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sz="2000" b="0" kern="1200" dirty="0">
              <a:solidFill>
                <a:schemeClr val="tx1"/>
              </a:solidFill>
              <a:latin typeface="+mj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US" sz="20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Without significant mindset change the risk is that mental health reform efforts will only lead to </a:t>
            </a:r>
            <a:r>
              <a:rPr lang="en-US" sz="2000" dirty="0">
                <a:latin typeface="+mj-lt"/>
              </a:rPr>
              <a:t>a slight improvement in practices without any fundamental change in the paradigm</a:t>
            </a:r>
            <a:endParaRPr lang="en-US" sz="2000" b="0" kern="1200" dirty="0">
              <a:solidFill>
                <a:schemeClr val="tx1"/>
              </a:solidFill>
              <a:latin typeface="+mj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sz="2000" b="0" kern="1200" dirty="0">
              <a:solidFill>
                <a:schemeClr val="tx1"/>
              </a:solidFill>
              <a:latin typeface="+mj-lt"/>
              <a:ea typeface="+mn-ea"/>
              <a:cs typeface="+mn-cs"/>
            </a:endParaRPr>
          </a:p>
          <a:p>
            <a:pPr marL="342900" indent="-342900">
              <a:buFont typeface="Wingdings" pitchFamily="2" charset="2"/>
              <a:buChar char="§"/>
            </a:pPr>
            <a:endParaRPr lang="en-US" sz="2000" dirty="0"/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xmlns="" id="{27B523CB-A899-9C28-8C7A-061498E346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4400" y="-14289"/>
            <a:ext cx="9180000" cy="1260000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76200" dir="5400000" algn="ctr" rotWithShape="0">
              <a:schemeClr val="tx1">
                <a:alpha val="40000"/>
              </a:schemeClr>
            </a:outerShdw>
          </a:effectLst>
        </p:spPr>
        <p:txBody>
          <a:bodyPr wrap="square" tIns="108000" rIns="720000" bIns="216000" anchor="ctr" anchorCtr="0">
            <a:no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None/>
            </a:pPr>
            <a:r>
              <a:rPr lang="en-US" altLang="en-US" sz="2400" b="1" dirty="0">
                <a:solidFill>
                  <a:schemeClr val="bg1"/>
                </a:solidFill>
                <a:latin typeface="Ebrima"/>
              </a:rPr>
              <a:t>Capacity building on human rights </a:t>
            </a:r>
          </a:p>
          <a:p>
            <a:pPr algn="ctr">
              <a:spcBef>
                <a:spcPct val="0"/>
              </a:spcBef>
              <a:buNone/>
            </a:pPr>
            <a:r>
              <a:rPr lang="en-US" altLang="en-US" sz="2400" b="1" dirty="0">
                <a:solidFill>
                  <a:schemeClr val="bg1"/>
                </a:solidFill>
                <a:latin typeface="Ebrima"/>
              </a:rPr>
              <a:t>in mental health</a:t>
            </a: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xmlns="" id="{BBB18CA3-2842-D334-D3DC-AD963B12F5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2888" cy="107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203813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29C7D3A9-FB2C-442A-91DF-C63B850F10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7264" y="2090136"/>
            <a:ext cx="1483030" cy="2095881"/>
          </a:xfrm>
          <a:prstGeom prst="rect">
            <a:avLst/>
          </a:prstGeom>
          <a:effectLst>
            <a:outerShdw blurRad="50800" dist="381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5280AEB0-EFA3-4D2A-8F1D-6366927A81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71207" y="2118231"/>
            <a:ext cx="1467968" cy="2064539"/>
          </a:xfrm>
          <a:prstGeom prst="rect">
            <a:avLst/>
          </a:prstGeom>
          <a:effectLst>
            <a:outerShdw blurRad="50800" dist="381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57F72B3B-EF7E-4A1C-B59E-0C3A8147B8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06291" y="2127553"/>
            <a:ext cx="1451584" cy="2055576"/>
          </a:xfrm>
          <a:prstGeom prst="rect">
            <a:avLst/>
          </a:prstGeom>
          <a:effectLst>
            <a:outerShdw blurRad="50800" dist="381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8074DE7E-E2FF-493B-B30F-5645081164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46036" y="2112002"/>
            <a:ext cx="1471746" cy="2073212"/>
          </a:xfrm>
          <a:prstGeom prst="rect">
            <a:avLst/>
          </a:prstGeom>
          <a:effectLst>
            <a:outerShdw blurRad="50800" dist="381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835E1A81-44C8-414A-9566-5793601474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43289" y="2112229"/>
            <a:ext cx="1451584" cy="2073211"/>
          </a:xfrm>
          <a:prstGeom prst="rect">
            <a:avLst/>
          </a:prstGeom>
          <a:effectLst>
            <a:outerShdw blurRad="50800" dist="381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B9054CB1-996B-48F9-BC0E-A18B7851366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35707" y="4586753"/>
            <a:ext cx="1518538" cy="2145457"/>
          </a:xfrm>
          <a:prstGeom prst="rect">
            <a:avLst/>
          </a:prstGeom>
          <a:effectLst>
            <a:outerShdw blurRad="50800" dist="38100" algn="tl" rotWithShape="0">
              <a:prstClr val="black">
                <a:alpha val="40000"/>
              </a:prstClr>
            </a:outerShdw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7DB0EC3F-A98F-43E4-A1CE-9F58F1E97CB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20948" y="4590658"/>
            <a:ext cx="1518538" cy="2133599"/>
          </a:xfrm>
          <a:prstGeom prst="rect">
            <a:avLst/>
          </a:prstGeom>
          <a:effectLst>
            <a:outerShdw blurRad="50800" dist="381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0123C5F8-FC39-4228-A262-BFA0D41A86F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81855" y="4586412"/>
            <a:ext cx="1519224" cy="2156880"/>
          </a:xfrm>
          <a:prstGeom prst="rect">
            <a:avLst/>
          </a:prstGeom>
          <a:effectLst>
            <a:outerShdw blurRad="50800" dist="381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9AB810C7-DD87-4FE9-BFBF-2D625F3FD815}"/>
              </a:ext>
            </a:extLst>
          </p:cNvPr>
          <p:cNvSpPr/>
          <p:nvPr/>
        </p:nvSpPr>
        <p:spPr>
          <a:xfrm>
            <a:off x="220778" y="1485711"/>
            <a:ext cx="710913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latin typeface="+mj-lt"/>
              </a:rPr>
              <a:t>QualityRights face-to-face training modu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8468412B-011A-471D-B099-46326DFA91E2}"/>
              </a:ext>
            </a:extLst>
          </p:cNvPr>
          <p:cNvSpPr txBox="1"/>
          <p:nvPr/>
        </p:nvSpPr>
        <p:spPr>
          <a:xfrm>
            <a:off x="51905" y="2444900"/>
            <a:ext cx="11330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Core modules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EB2318FD-B276-4573-937B-1661D252E1D4}"/>
              </a:ext>
            </a:extLst>
          </p:cNvPr>
          <p:cNvGrpSpPr/>
          <p:nvPr/>
        </p:nvGrpSpPr>
        <p:grpSpPr>
          <a:xfrm>
            <a:off x="649659" y="3117962"/>
            <a:ext cx="469895" cy="477509"/>
            <a:chOff x="866212" y="2807952"/>
            <a:chExt cx="626527" cy="636679"/>
          </a:xfrm>
        </p:grpSpPr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xmlns="" id="{F5CF45EA-D78B-44ED-A34D-4CCFDE06B9C6}"/>
                </a:ext>
              </a:extLst>
            </p:cNvPr>
            <p:cNvCxnSpPr>
              <a:cxnSpLocks/>
            </p:cNvCxnSpPr>
            <p:nvPr/>
          </p:nvCxnSpPr>
          <p:spPr>
            <a:xfrm>
              <a:off x="868591" y="3429000"/>
              <a:ext cx="624148" cy="0"/>
            </a:xfrm>
            <a:prstGeom prst="straightConnector1">
              <a:avLst/>
            </a:prstGeom>
            <a:ln w="571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xmlns="" id="{279CDAAC-0083-4DD4-BBE2-95D2822CCB26}"/>
                </a:ext>
              </a:extLst>
            </p:cNvPr>
            <p:cNvCxnSpPr>
              <a:cxnSpLocks/>
            </p:cNvCxnSpPr>
            <p:nvPr/>
          </p:nvCxnSpPr>
          <p:spPr>
            <a:xfrm>
              <a:off x="866212" y="2807952"/>
              <a:ext cx="0" cy="636679"/>
            </a:xfrm>
            <a:prstGeom prst="line">
              <a:avLst/>
            </a:prstGeom>
            <a:ln w="571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CBC25C5A-7CCC-4626-B159-AB0B4B93B406}"/>
              </a:ext>
            </a:extLst>
          </p:cNvPr>
          <p:cNvSpPr txBox="1"/>
          <p:nvPr/>
        </p:nvSpPr>
        <p:spPr>
          <a:xfrm>
            <a:off x="547343" y="5013004"/>
            <a:ext cx="14901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Specialized module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xmlns="" id="{146247F0-6980-49E7-8585-C382016586CA}"/>
              </a:ext>
            </a:extLst>
          </p:cNvPr>
          <p:cNvGrpSpPr/>
          <p:nvPr/>
        </p:nvGrpSpPr>
        <p:grpSpPr>
          <a:xfrm>
            <a:off x="1319471" y="5677525"/>
            <a:ext cx="884467" cy="477509"/>
            <a:chOff x="2059411" y="5439168"/>
            <a:chExt cx="1179289" cy="636679"/>
          </a:xfrm>
        </p:grpSpPr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xmlns="" id="{5C9F4C1C-41C4-4EF9-A2CD-E0B24BE50C34}"/>
                </a:ext>
              </a:extLst>
            </p:cNvPr>
            <p:cNvCxnSpPr>
              <a:cxnSpLocks/>
            </p:cNvCxnSpPr>
            <p:nvPr/>
          </p:nvCxnSpPr>
          <p:spPr>
            <a:xfrm>
              <a:off x="2059411" y="6075847"/>
              <a:ext cx="1179289" cy="0"/>
            </a:xfrm>
            <a:prstGeom prst="straightConnector1">
              <a:avLst/>
            </a:prstGeom>
            <a:ln w="57150">
              <a:solidFill>
                <a:srgbClr val="FF2F9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xmlns="" id="{51454350-DB49-4A37-BD1C-5EAEB6768B56}"/>
                </a:ext>
              </a:extLst>
            </p:cNvPr>
            <p:cNvCxnSpPr>
              <a:cxnSpLocks/>
            </p:cNvCxnSpPr>
            <p:nvPr/>
          </p:nvCxnSpPr>
          <p:spPr>
            <a:xfrm>
              <a:off x="2090673" y="5439168"/>
              <a:ext cx="0" cy="636679"/>
            </a:xfrm>
            <a:prstGeom prst="line">
              <a:avLst/>
            </a:prstGeom>
            <a:ln w="57150">
              <a:solidFill>
                <a:srgbClr val="FF2F9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7">
            <a:extLst>
              <a:ext uri="{FF2B5EF4-FFF2-40B4-BE49-F238E27FC236}">
                <a16:creationId xmlns:a16="http://schemas.microsoft.com/office/drawing/2014/main" xmlns="" id="{8416DFA0-2948-CFA4-74BB-C1B1A8C27A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4400" y="-14289"/>
            <a:ext cx="9180000" cy="1260000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76200" dir="5400000" algn="ctr" rotWithShape="0">
              <a:schemeClr val="tx1">
                <a:alpha val="40000"/>
              </a:schemeClr>
            </a:outerShdw>
          </a:effectLst>
        </p:spPr>
        <p:txBody>
          <a:bodyPr wrap="square" tIns="108000" rIns="720000" bIns="216000" anchor="ctr" anchorCtr="0">
            <a:no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400" b="1" dirty="0">
                <a:solidFill>
                  <a:schemeClr val="bg1"/>
                </a:solidFill>
                <a:latin typeface="Ebrima"/>
              </a:rPr>
              <a:t>Capacity building on human rights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400" b="1" dirty="0">
                <a:solidFill>
                  <a:schemeClr val="bg1"/>
                </a:solidFill>
                <a:latin typeface="Ebrima"/>
              </a:rPr>
              <a:t>in mental health</a:t>
            </a:r>
          </a:p>
        </p:txBody>
      </p:sp>
      <p:pic>
        <p:nvPicPr>
          <p:cNvPr id="30" name="Picture 3">
            <a:extLst>
              <a:ext uri="{FF2B5EF4-FFF2-40B4-BE49-F238E27FC236}">
                <a16:creationId xmlns:a16="http://schemas.microsoft.com/office/drawing/2014/main" xmlns="" id="{780292F0-31BD-9737-DD31-1BE1F435CB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2888" cy="107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55558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7">
            <a:extLst>
              <a:ext uri="{FF2B5EF4-FFF2-40B4-BE49-F238E27FC236}">
                <a16:creationId xmlns:a16="http://schemas.microsoft.com/office/drawing/2014/main" xmlns="" id="{BD469AF2-C7CA-4BA3-B0D3-31881150C7FD}"/>
              </a:ext>
            </a:extLst>
          </p:cNvPr>
          <p:cNvSpPr txBox="1">
            <a:spLocks/>
          </p:cNvSpPr>
          <p:nvPr/>
        </p:nvSpPr>
        <p:spPr>
          <a:xfrm>
            <a:off x="1861063" y="860949"/>
            <a:ext cx="5686820" cy="864151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algn="l" defTabSz="89701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0383" algn="l"/>
              </a:tabLst>
              <a:defRPr sz="2000" b="0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8000"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6095"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4154"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32209"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GB" sz="3000" kern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apacity building on human rights </a:t>
            </a:r>
          </a:p>
          <a:p>
            <a:pPr algn="ctr"/>
            <a:r>
              <a:rPr lang="en-GB" sz="3000" kern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 mental health</a:t>
            </a:r>
            <a:endParaRPr lang="en-US" sz="3000" kern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xmlns="" id="{875A3130-6F50-EC40-91DE-7E4F98A198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2312" y="913664"/>
            <a:ext cx="7740594" cy="925179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76200" dir="5400000" algn="ctr" rotWithShape="0">
              <a:schemeClr val="tx1">
                <a:alpha val="40000"/>
              </a:schemeClr>
            </a:outerShdw>
          </a:effectLst>
        </p:spPr>
        <p:txBody>
          <a:bodyPr wrap="square" tIns="81000" rIns="540000" bIns="162000" anchor="ctr" anchorCtr="0">
            <a:no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2100" b="1" dirty="0">
                <a:solidFill>
                  <a:schemeClr val="bg1"/>
                </a:solidFill>
                <a:latin typeface="Ebrima"/>
                <a:ea typeface="+mj-ea"/>
                <a:cs typeface="+mj-cs"/>
              </a:rPr>
              <a:t>QualityRights e-training</a:t>
            </a: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xmlns="" id="{830CCECF-C211-BC4C-8EDE-20D5759F27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535" y="922986"/>
            <a:ext cx="977166" cy="80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xmlns="" id="{03632C24-68EC-0048-8CA5-10D817774C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5157" y="1943942"/>
            <a:ext cx="6609819" cy="3749429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">
            <a:extLst>
              <a:ext uri="{FF2B5EF4-FFF2-40B4-BE49-F238E27FC236}">
                <a16:creationId xmlns:a16="http://schemas.microsoft.com/office/drawing/2014/main" xmlns="" id="{61173A32-4A28-4847-9415-7D225F9015BF}"/>
              </a:ext>
            </a:extLst>
          </p:cNvPr>
          <p:cNvSpPr txBox="1"/>
          <p:nvPr/>
        </p:nvSpPr>
        <p:spPr>
          <a:xfrm>
            <a:off x="1969895" y="2379702"/>
            <a:ext cx="167406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42900"/>
            <a:endParaRPr lang="fr-CH" sz="1200" b="1" dirty="0">
              <a:solidFill>
                <a:prstClr val="white"/>
              </a:solidFill>
              <a:latin typeface="Ebrima"/>
            </a:endParaRPr>
          </a:p>
          <a:p>
            <a:pPr marL="214313" indent="-214313" defTabSz="342900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prstClr val="white"/>
                </a:solidFill>
                <a:latin typeface="Ebrima"/>
              </a:rPr>
              <a:t>Changing mindsets of whole communities, on massive scale</a:t>
            </a:r>
          </a:p>
          <a:p>
            <a:pPr marL="214313" indent="-214313" defTabSz="342900">
              <a:buFont typeface="Arial" panose="020B0604020202020204" pitchFamily="34" charset="0"/>
              <a:buChar char="•"/>
            </a:pPr>
            <a:endParaRPr lang="en-US" sz="1200" b="1" dirty="0">
              <a:solidFill>
                <a:prstClr val="white"/>
              </a:solidFill>
              <a:latin typeface="Ebrima"/>
            </a:endParaRPr>
          </a:p>
          <a:p>
            <a:pPr marL="214313" indent="-214313" defTabSz="342900"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prstClr val="white"/>
                </a:solidFill>
                <a:latin typeface="Ebrima"/>
              </a:rPr>
              <a:t>Free of cost and open to all </a:t>
            </a:r>
          </a:p>
          <a:p>
            <a:pPr marL="214313" indent="-214313" defTabSz="342900">
              <a:buFont typeface="Arial" panose="020B0604020202020204" pitchFamily="34" charset="0"/>
              <a:buChar char="•"/>
              <a:defRPr/>
            </a:pPr>
            <a:endParaRPr lang="en-US" sz="1200" b="1" dirty="0">
              <a:solidFill>
                <a:prstClr val="white"/>
              </a:solidFill>
              <a:latin typeface="Ebrima"/>
            </a:endParaRPr>
          </a:p>
          <a:p>
            <a:pPr marL="214313" indent="-214313" defTabSz="342900"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prstClr val="white"/>
                </a:solidFill>
                <a:latin typeface="Ebrima"/>
              </a:rPr>
              <a:t>Available in 11 languages including English, Spanish and French</a:t>
            </a:r>
          </a:p>
          <a:p>
            <a:pPr marL="214313" indent="-214313" defTabSz="342900">
              <a:buFont typeface="Arial" panose="020B0604020202020204" pitchFamily="34" charset="0"/>
              <a:buChar char="•"/>
              <a:defRPr/>
            </a:pPr>
            <a:endParaRPr lang="en-US" sz="1200" b="1" dirty="0">
              <a:solidFill>
                <a:prstClr val="white"/>
              </a:solidFill>
              <a:latin typeface="Ebrima"/>
            </a:endParaRPr>
          </a:p>
          <a:p>
            <a:pPr marL="214313" indent="-214313" defTabSz="342900">
              <a:buFont typeface="Arial" panose="020B0604020202020204" pitchFamily="34" charset="0"/>
              <a:buChar char="•"/>
              <a:defRPr/>
            </a:pPr>
            <a:r>
              <a:rPr lang="en-US" sz="1200" b="1" dirty="0">
                <a:solidFill>
                  <a:prstClr val="white"/>
                </a:solidFill>
                <a:latin typeface="Ebrima"/>
              </a:rPr>
              <a:t>WHO certificate upon completion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6" name="TextBox 3">
            <a:extLst>
              <a:ext uri="{FF2B5EF4-FFF2-40B4-BE49-F238E27FC236}">
                <a16:creationId xmlns:a16="http://schemas.microsoft.com/office/drawing/2014/main" xmlns="" id="{7B4FDA01-C7C1-024F-B78A-00C15695DC8F}"/>
              </a:ext>
            </a:extLst>
          </p:cNvPr>
          <p:cNvSpPr txBox="1"/>
          <p:nvPr/>
        </p:nvSpPr>
        <p:spPr>
          <a:xfrm>
            <a:off x="2120167" y="2079620"/>
            <a:ext cx="477355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0"/>
            <a:r>
              <a:rPr lang="en-US" sz="1500" b="1" dirty="0">
                <a:solidFill>
                  <a:prstClr val="white"/>
                </a:solidFill>
              </a:rPr>
              <a:t>Mental Health, recovery and community inclusion</a:t>
            </a:r>
            <a:endParaRPr lang="en-US" sz="1500" dirty="0">
              <a:solidFill>
                <a:prstClr val="black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16C8660D-D257-49E6-A546-A5F394186FDB}"/>
              </a:ext>
            </a:extLst>
          </p:cNvPr>
          <p:cNvSpPr txBox="1"/>
          <p:nvPr/>
        </p:nvSpPr>
        <p:spPr>
          <a:xfrm>
            <a:off x="5416827" y="3131092"/>
            <a:ext cx="1580321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Target: </a:t>
            </a:r>
          </a:p>
          <a:p>
            <a:r>
              <a:rPr lang="en-US" sz="15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5 million learners to complete the e-training by 2025</a:t>
            </a:r>
            <a:endParaRPr lang="en-US" sz="15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6452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7">
            <a:extLst>
              <a:ext uri="{FF2B5EF4-FFF2-40B4-BE49-F238E27FC236}">
                <a16:creationId xmlns:a16="http://schemas.microsoft.com/office/drawing/2014/main" xmlns="" id="{DE3F9E9E-76B2-4C6B-AFEC-93B594FB1DB0}"/>
              </a:ext>
            </a:extLst>
          </p:cNvPr>
          <p:cNvSpPr txBox="1">
            <a:spLocks/>
          </p:cNvSpPr>
          <p:nvPr/>
        </p:nvSpPr>
        <p:spPr bwMode="auto">
          <a:xfrm>
            <a:off x="2088450" y="159329"/>
            <a:ext cx="5437760" cy="648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89701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0383" algn="l"/>
              </a:tabLst>
              <a:defRPr sz="2000" b="0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8000"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6095"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4154"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32209" algn="l" defTabSz="89701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89701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0383" algn="l"/>
              </a:tabLst>
              <a:defRPr/>
            </a:pPr>
            <a:r>
              <a:rPr kumimoji="0" lang="en-GB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Rights based law reform</a:t>
            </a:r>
          </a:p>
          <a:p>
            <a:pPr marL="0" marR="0" lvl="0" indent="0" algn="ctr" defTabSz="89701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0383" algn="l"/>
              </a:tabLst>
              <a:defRPr/>
            </a:pPr>
            <a:endParaRPr kumimoji="0" lang="en-US" sz="22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14" name="Rectangle 7">
            <a:extLst>
              <a:ext uri="{FF2B5EF4-FFF2-40B4-BE49-F238E27FC236}">
                <a16:creationId xmlns:a16="http://schemas.microsoft.com/office/drawing/2014/main" xmlns="" id="{B1A132F8-9C96-AE40-906F-56B7148A0F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4400" y="-14289"/>
            <a:ext cx="9180000" cy="1260000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76200" dir="5400000" algn="ctr" rotWithShape="0">
              <a:schemeClr val="tx1">
                <a:alpha val="40000"/>
              </a:schemeClr>
            </a:outerShdw>
          </a:effectLst>
        </p:spPr>
        <p:txBody>
          <a:bodyPr wrap="square" tIns="108000" rIns="720000" bIns="216000" anchor="ctr" anchorCtr="0">
            <a:no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brima"/>
                <a:ea typeface="+mn-ea"/>
                <a:cs typeface="Arial" charset="0"/>
              </a:rPr>
              <a:t>QualityRights e-training overview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pic>
        <p:nvPicPr>
          <p:cNvPr id="17" name="Picture 3">
            <a:extLst>
              <a:ext uri="{FF2B5EF4-FFF2-40B4-BE49-F238E27FC236}">
                <a16:creationId xmlns:a16="http://schemas.microsoft.com/office/drawing/2014/main" xmlns="" id="{BB29D6CE-40CD-0D47-A86E-78438283D8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2888" cy="107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  <p:pic>
        <p:nvPicPr>
          <p:cNvPr id="2" name="yt1s.com - English WHO QualityRights etraining Mental Health Recovery  Community Inclusion updated 2022_1080p.mp4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3600" y="1245711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450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xmlns="" id="{2C5667F3-C09D-7849-A699-CD50F496F3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4400" y="-14289"/>
            <a:ext cx="9180000" cy="1260000"/>
          </a:xfrm>
          <a:prstGeom prst="rect">
            <a:avLst/>
          </a:prstGeom>
          <a:solidFill>
            <a:srgbClr val="4472C4"/>
          </a:solidFill>
          <a:ln>
            <a:noFill/>
          </a:ln>
          <a:effectLst>
            <a:outerShdw blurRad="50800" dist="76200" dir="5400000" algn="ctr" rotWithShape="0">
              <a:schemeClr val="tx1">
                <a:alpha val="40000"/>
              </a:schemeClr>
            </a:outerShdw>
          </a:effectLst>
        </p:spPr>
        <p:txBody>
          <a:bodyPr wrap="square" tIns="108000" rIns="720000" bIns="216000" anchor="ctr" anchorCtr="0">
            <a:no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800" b="1" dirty="0">
                <a:solidFill>
                  <a:schemeClr val="bg1"/>
                </a:solidFill>
                <a:latin typeface="Ebrima"/>
                <a:ea typeface="+mj-ea"/>
                <a:cs typeface="+mj-cs"/>
              </a:rPr>
              <a:t>	    QualityRights e-training evaluation: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en-US" sz="2800" b="1" dirty="0">
                <a:solidFill>
                  <a:schemeClr val="bg1"/>
                </a:solidFill>
                <a:latin typeface="Ebrima"/>
                <a:ea typeface="+mj-ea"/>
                <a:cs typeface="+mj-cs"/>
              </a:rPr>
              <a:t>	    Pre and post training attitudinal scores</a:t>
            </a:r>
            <a:endParaRPr lang="en-US" sz="20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xmlns="" id="{BF1046B3-6309-964C-9BB7-E7454C2D96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02888" cy="107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E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21212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DCD6D4"/>
                  </a:outerShdw>
                </a:effectLst>
              </a14:hiddenEffects>
            </a:ext>
          </a:extLst>
        </p:spPr>
      </p:pic>
      <p:sp>
        <p:nvSpPr>
          <p:cNvPr id="9" name="Rectangle 3">
            <a:extLst>
              <a:ext uri="{FF2B5EF4-FFF2-40B4-BE49-F238E27FC236}">
                <a16:creationId xmlns:a16="http://schemas.microsoft.com/office/drawing/2014/main" xmlns="" id="{AA679AAA-89F6-2C41-B04F-B8621FB2C8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9999" y="1815498"/>
            <a:ext cx="7704004" cy="44529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038" indent="-192451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8000" indent="-262431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5510" indent="-155866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51209" indent="-130419" algn="l" defTabSz="89701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42900" lvl="1" indent="-342900" defTabSz="457200">
              <a:lnSpc>
                <a:spcPct val="80000"/>
              </a:lnSpc>
              <a:buClr>
                <a:srgbClr val="004A99"/>
              </a:buClr>
              <a:buSzPct val="120000"/>
              <a:defRPr/>
            </a:pPr>
            <a:r>
              <a:rPr lang="en-US" altLang="zh-CN" sz="2400" dirty="0"/>
              <a:t>17 attitudinal items </a:t>
            </a:r>
            <a:r>
              <a:rPr lang="en-US" altLang="zh-CN" sz="2400" dirty="0">
                <a:sym typeface="Wingdings" pitchFamily="2" charset="2"/>
              </a:rPr>
              <a:t> </a:t>
            </a:r>
            <a:r>
              <a:rPr lang="en-US" altLang="zh-CN" sz="2400" b="1" dirty="0">
                <a:solidFill>
                  <a:srgbClr val="10B8BC"/>
                </a:solidFill>
              </a:rPr>
              <a:t>highly significant changes on all items</a:t>
            </a:r>
            <a:r>
              <a:rPr lang="en-US" altLang="zh-CN" sz="2400" dirty="0"/>
              <a:t> (p&lt;0.0001)</a:t>
            </a:r>
            <a:endParaRPr lang="en-US" altLang="zh-CN" sz="2400" kern="1200" dirty="0">
              <a:ea typeface="+mn-ea"/>
              <a:cs typeface="+mn-cs"/>
            </a:endParaRPr>
          </a:p>
          <a:p>
            <a:pPr marL="342900" lvl="1" indent="-342900" defTabSz="457200">
              <a:lnSpc>
                <a:spcPct val="80000"/>
              </a:lnSpc>
              <a:buClr>
                <a:srgbClr val="004A99"/>
              </a:buClr>
              <a:buSzPct val="120000"/>
              <a:buFont typeface="Wingdings" panose="05000000000000000000" pitchFamily="2" charset="2"/>
              <a:buChar char="ü"/>
              <a:defRPr/>
            </a:pPr>
            <a:endParaRPr lang="en-US" altLang="zh-CN" sz="2400" kern="1200" dirty="0">
              <a:ea typeface="+mn-ea"/>
              <a:cs typeface="+mn-cs"/>
            </a:endParaRPr>
          </a:p>
          <a:p>
            <a:pPr marL="342900" lvl="1" indent="-342900" defTabSz="457200">
              <a:lnSpc>
                <a:spcPct val="80000"/>
              </a:lnSpc>
              <a:buClr>
                <a:srgbClr val="004A99"/>
              </a:buClr>
              <a:buSzPct val="120000"/>
              <a:defRPr/>
            </a:pPr>
            <a:r>
              <a:rPr lang="en-GB" sz="2400" b="1" dirty="0">
                <a:solidFill>
                  <a:srgbClr val="10B8BC"/>
                </a:solidFill>
              </a:rPr>
              <a:t>38% improvement in overall attitudes</a:t>
            </a:r>
            <a:endParaRPr lang="en-US" altLang="zh-CN" sz="2400" kern="1200" dirty="0">
              <a:solidFill>
                <a:srgbClr val="10B8BC"/>
              </a:solidFill>
              <a:ea typeface="+mn-ea"/>
              <a:cs typeface="+mn-cs"/>
            </a:endParaRPr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endParaRPr lang="en-US" altLang="zh-CN" sz="2400" kern="1200" dirty="0">
              <a:ea typeface="+mn-ea"/>
              <a:cs typeface="+mn-cs"/>
            </a:endParaRPr>
          </a:p>
          <a:p>
            <a:pPr marL="342900" lvl="1" indent="-342900" defTabSz="457200">
              <a:lnSpc>
                <a:spcPct val="80000"/>
              </a:lnSpc>
              <a:buClr>
                <a:srgbClr val="004A99"/>
              </a:buClr>
              <a:buSzPct val="120000"/>
              <a:defRPr/>
            </a:pPr>
            <a:r>
              <a:rPr lang="en-US" altLang="zh-CN" sz="2400" b="1" dirty="0">
                <a:solidFill>
                  <a:srgbClr val="10B8BC"/>
                </a:solidFill>
              </a:rPr>
              <a:t>50% improvements on many challenging issues:</a:t>
            </a:r>
          </a:p>
          <a:p>
            <a:pPr marL="606862" lvl="2" indent="-342900" defTabSz="457200">
              <a:lnSpc>
                <a:spcPct val="80000"/>
              </a:lnSpc>
              <a:buClr>
                <a:srgbClr val="004A99"/>
              </a:buClr>
              <a:defRPr/>
            </a:pPr>
            <a:r>
              <a:rPr lang="en-US" altLang="zh-CN" sz="2400" dirty="0"/>
              <a:t>Legal capacity &amp; the right to decide</a:t>
            </a:r>
          </a:p>
          <a:p>
            <a:pPr marL="606862" lvl="2" indent="-342900" defTabSz="457200">
              <a:lnSpc>
                <a:spcPct val="80000"/>
              </a:lnSpc>
              <a:buClr>
                <a:srgbClr val="004A99"/>
              </a:buClr>
              <a:defRPr/>
            </a:pPr>
            <a:r>
              <a:rPr lang="en-US" altLang="zh-CN" sz="2400" dirty="0"/>
              <a:t>Ending coercive practices </a:t>
            </a:r>
          </a:p>
          <a:p>
            <a:pPr marL="606862" lvl="2" indent="-342900" defTabSz="457200">
              <a:lnSpc>
                <a:spcPct val="80000"/>
              </a:lnSpc>
              <a:buClr>
                <a:srgbClr val="004A99"/>
              </a:buClr>
              <a:defRPr/>
            </a:pPr>
            <a:r>
              <a:rPr lang="en-US" altLang="zh-CN" sz="2400" dirty="0"/>
              <a:t>Choice and information about treatment </a:t>
            </a:r>
          </a:p>
          <a:p>
            <a:pPr marL="606862" lvl="2" indent="-342900" defTabSz="457200">
              <a:lnSpc>
                <a:spcPct val="80000"/>
              </a:lnSpc>
              <a:buClr>
                <a:srgbClr val="004A99"/>
              </a:buClr>
              <a:defRPr/>
            </a:pPr>
            <a:r>
              <a:rPr lang="en-US" altLang="zh-CN" sz="2400" dirty="0"/>
              <a:t>Right to community inclusion</a:t>
            </a:r>
          </a:p>
          <a:p>
            <a:pPr marL="0" lvl="1" indent="0" defTabSz="457200">
              <a:lnSpc>
                <a:spcPct val="80000"/>
              </a:lnSpc>
              <a:buClr>
                <a:srgbClr val="004A99"/>
              </a:buClr>
              <a:buSzPct val="120000"/>
              <a:buNone/>
              <a:defRPr/>
            </a:pPr>
            <a:endParaRPr lang="en-US" altLang="zh-CN" sz="2000" kern="1200" dirty="0">
              <a:ea typeface="+mn-ea"/>
              <a:cs typeface="+mn-cs"/>
              <a:sym typeface="Wingdings" pitchFamily="2" charset="2"/>
            </a:endParaRPr>
          </a:p>
          <a:p>
            <a:pPr marL="342900" lvl="1" indent="-342900" defTabSz="457200">
              <a:lnSpc>
                <a:spcPct val="80000"/>
              </a:lnSpc>
              <a:buClr>
                <a:srgbClr val="004A99"/>
              </a:buClr>
              <a:buSzPct val="120000"/>
              <a:defRPr/>
            </a:pPr>
            <a:endParaRPr lang="en-US" altLang="zh-CN" sz="2000" kern="1200" dirty="0">
              <a:ea typeface="+mn-ea"/>
              <a:cs typeface="+mn-cs"/>
              <a:sym typeface="Wingdings" pitchFamily="2" charset="2"/>
            </a:endParaRPr>
          </a:p>
          <a:p>
            <a:pPr marL="342900" lvl="1" indent="-342900" defTabSz="457200">
              <a:lnSpc>
                <a:spcPct val="80000"/>
              </a:lnSpc>
              <a:buClr>
                <a:srgbClr val="004A99"/>
              </a:buClr>
              <a:buSzPct val="120000"/>
              <a:defRPr/>
            </a:pPr>
            <a:endParaRPr lang="en-US" altLang="zh-CN" sz="2000" kern="1200" dirty="0">
              <a:ea typeface="+mn-ea"/>
              <a:cs typeface="+mn-cs"/>
            </a:endParaRPr>
          </a:p>
          <a:p>
            <a:pPr marL="285750" indent="-285750" defTabSz="457200">
              <a:lnSpc>
                <a:spcPct val="80000"/>
              </a:lnSpc>
              <a:buClr>
                <a:srgbClr val="FF0000"/>
              </a:buClr>
              <a:defRPr/>
            </a:pPr>
            <a:endParaRPr lang="en-US" altLang="zh-CN" sz="2400" kern="0" dirty="0">
              <a:solidFill>
                <a:srgbClr val="0070C0"/>
              </a:solidFill>
              <a:latin typeface="Ebrima"/>
            </a:endParaRPr>
          </a:p>
        </p:txBody>
      </p:sp>
    </p:spTree>
    <p:extLst>
      <p:ext uri="{BB962C8B-B14F-4D97-AF65-F5344CB8AC3E}">
        <p14:creationId xmlns:p14="http://schemas.microsoft.com/office/powerpoint/2010/main" val="834812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ISNEWSLIDENUMBER" val="True"/>
  <p:tag name="NEWNAMES" val="True"/>
  <p:tag name="THINKCELLPRESENTATIONDONOTDELETE" val="&lt;?xml version=&quot;1.0&quot; encoding=&quot;UTF-16&quot; standalone=&quot;yes&quot;?&gt;&lt;root reqver=&quot;23045&quot;&gt;&lt;version val=&quot;2516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3.07044100000000019790E+00&quot;&gt;&lt;m_msothmcolidx val=&quot;0&quot;/&gt;&lt;m_rgb r=&quot;66&quot; g=&quot;66&quot; b=&quot;66&quot;/&gt;&lt;m_nBrightness val=&quot;0&quot;/&gt;&lt;/elem&gt;&lt;elem m_fUsage=&quot;9.00000000000000022204E-01&quot;&gt;&lt;m_msothmcolidx val=&quot;0&quot;/&gt;&lt;m_rgb r=&quot;F2&quot; g=&quot;7F&quot; b=&quot;00&quot;/&gt;&lt;m_nBrightness val=&quot;0&quot;/&gt;&lt;/elem&gt;&lt;elem m_fUsage=&quot;6.56100000000000127542E-01&quot;&gt;&lt;m_msothmcolidx val=&quot;0&quot;/&gt;&lt;m_rgb r=&quot;CD&quot; g=&quot;20&quot; b=&quot;2C&quot;/&gt;&lt;m_nBrightness val=&quot;0&quot;/&gt;&lt;/elem&gt;&lt;elem m_fUsage=&quot;5.90490000000000181402E-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Accent3"/>
  <p:tag name="PREVIOUSNAME" val="C:\Users\Rebecca David\Desktop\WIP\20180613_HQ_Director_workshop_v12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UvYPeUS9eLZq2CoCffk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KJpnchQIO6ibmkBRqgV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deRa2aQTGZ6p3qeDs5T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pcY.XMRnu_dXH9Hg5IV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UvYPeUS9eLZq2CoCffk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KJpnchQIO6ibmkBRqgV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deRa2aQTGZ6p3qeDs5T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YD1sS0S8K49BVJkqy0T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WHO_CF_WHO046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7DDAF3"/>
      </a:accent1>
      <a:accent2>
        <a:srgbClr val="018ECB"/>
      </a:accent2>
      <a:accent3>
        <a:srgbClr val="004A99"/>
      </a:accent3>
      <a:accent4>
        <a:srgbClr val="00244C"/>
      </a:accent4>
      <a:accent5>
        <a:srgbClr val="696969"/>
      </a:accent5>
      <a:accent6>
        <a:srgbClr val="808080"/>
      </a:accent6>
      <a:hlink>
        <a:srgbClr val="004A99"/>
      </a:hlink>
      <a:folHlink>
        <a:srgbClr val="00244C"/>
      </a:folHlink>
    </a:clrScheme>
    <a:fontScheme name="Custom 13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7DDAF3"/>
        </a:accent1>
        <a:accent2>
          <a:srgbClr val="018ECB"/>
        </a:accent2>
        <a:accent3>
          <a:srgbClr val="004A99"/>
        </a:accent3>
        <a:accent4>
          <a:srgbClr val="00244C"/>
        </a:accent4>
        <a:accent5>
          <a:srgbClr val="696969"/>
        </a:accent5>
        <a:accent6>
          <a:srgbClr val="808080"/>
        </a:accent6>
        <a:hlink>
          <a:srgbClr val="004A99"/>
        </a:hlink>
        <a:folHlink>
          <a:srgbClr val="00244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HO_CF_WHO046.potx" id="{496379C6-2F34-4EBD-901E-6AFDD3B5A6CD}" vid="{98F5942D-0DB9-42C9-AA2F-BC75655673CC}"/>
    </a:ext>
  </a:extLst>
</a:theme>
</file>

<file path=ppt/theme/theme1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3_WHO_CF_WHO046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7DDAF3"/>
      </a:accent1>
      <a:accent2>
        <a:srgbClr val="018ECB"/>
      </a:accent2>
      <a:accent3>
        <a:srgbClr val="004A99"/>
      </a:accent3>
      <a:accent4>
        <a:srgbClr val="00244C"/>
      </a:accent4>
      <a:accent5>
        <a:srgbClr val="696969"/>
      </a:accent5>
      <a:accent6>
        <a:srgbClr val="808080"/>
      </a:accent6>
      <a:hlink>
        <a:srgbClr val="004A99"/>
      </a:hlink>
      <a:folHlink>
        <a:srgbClr val="00244C"/>
      </a:folHlink>
    </a:clrScheme>
    <a:fontScheme name="Custom 13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7DDAF3"/>
        </a:accent1>
        <a:accent2>
          <a:srgbClr val="018ECB"/>
        </a:accent2>
        <a:accent3>
          <a:srgbClr val="004A99"/>
        </a:accent3>
        <a:accent4>
          <a:srgbClr val="00244C"/>
        </a:accent4>
        <a:accent5>
          <a:srgbClr val="696969"/>
        </a:accent5>
        <a:accent6>
          <a:srgbClr val="808080"/>
        </a:accent6>
        <a:hlink>
          <a:srgbClr val="004A99"/>
        </a:hlink>
        <a:folHlink>
          <a:srgbClr val="00244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HO_CF_WHO046.potx" id="{496379C6-2F34-4EBD-901E-6AFDD3B5A6CD}" vid="{98F5942D-0DB9-42C9-AA2F-BC75655673CC}"/>
    </a:ext>
  </a:extLst>
</a:theme>
</file>

<file path=ppt/theme/theme3.xml><?xml version="1.0" encoding="utf-8"?>
<a:theme xmlns:a="http://schemas.openxmlformats.org/drawingml/2006/main" name="1_CF_GV0191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7DDAF3"/>
      </a:accent1>
      <a:accent2>
        <a:srgbClr val="018ECB"/>
      </a:accent2>
      <a:accent3>
        <a:srgbClr val="004A99"/>
      </a:accent3>
      <a:accent4>
        <a:srgbClr val="00244C"/>
      </a:accent4>
      <a:accent5>
        <a:srgbClr val="696969"/>
      </a:accent5>
      <a:accent6>
        <a:srgbClr val="808080"/>
      </a:accent6>
      <a:hlink>
        <a:srgbClr val="004A99"/>
      </a:hlink>
      <a:folHlink>
        <a:srgbClr val="00244C"/>
      </a:folHlink>
    </a:clrScheme>
    <a:fontScheme name="Custom 13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7DDAF3"/>
        </a:accent1>
        <a:accent2>
          <a:srgbClr val="018ECB"/>
        </a:accent2>
        <a:accent3>
          <a:srgbClr val="004A99"/>
        </a:accent3>
        <a:accent4>
          <a:srgbClr val="00244C"/>
        </a:accent4>
        <a:accent5>
          <a:srgbClr val="696969"/>
        </a:accent5>
        <a:accent6>
          <a:srgbClr val="808080"/>
        </a:accent6>
        <a:hlink>
          <a:srgbClr val="004A99"/>
        </a:hlink>
        <a:folHlink>
          <a:srgbClr val="00244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F_GV0191.potx" id="{3497A333-2CE4-42D4-9EF3-8C7248B5A7D2}" vid="{C0E7AAFF-72E8-46B3-8DB3-9D8465DBE258}"/>
    </a:ext>
  </a:extLst>
</a:theme>
</file>

<file path=ppt/theme/theme4.xml><?xml version="1.0" encoding="utf-8"?>
<a:theme xmlns:a="http://schemas.openxmlformats.org/drawingml/2006/main" name="101_WHO_CF_WHO046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7DDAF3"/>
      </a:accent1>
      <a:accent2>
        <a:srgbClr val="018ECB"/>
      </a:accent2>
      <a:accent3>
        <a:srgbClr val="004A99"/>
      </a:accent3>
      <a:accent4>
        <a:srgbClr val="00244C"/>
      </a:accent4>
      <a:accent5>
        <a:srgbClr val="696969"/>
      </a:accent5>
      <a:accent6>
        <a:srgbClr val="808080"/>
      </a:accent6>
      <a:hlink>
        <a:srgbClr val="004A99"/>
      </a:hlink>
      <a:folHlink>
        <a:srgbClr val="00244C"/>
      </a:folHlink>
    </a:clrScheme>
    <a:fontScheme name="Custom 13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7DDAF3"/>
        </a:accent1>
        <a:accent2>
          <a:srgbClr val="018ECB"/>
        </a:accent2>
        <a:accent3>
          <a:srgbClr val="004A99"/>
        </a:accent3>
        <a:accent4>
          <a:srgbClr val="00244C"/>
        </a:accent4>
        <a:accent5>
          <a:srgbClr val="696969"/>
        </a:accent5>
        <a:accent6>
          <a:srgbClr val="808080"/>
        </a:accent6>
        <a:hlink>
          <a:srgbClr val="004A99"/>
        </a:hlink>
        <a:folHlink>
          <a:srgbClr val="00244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HO_CF_WHO046.potx" id="{496379C6-2F34-4EBD-901E-6AFDD3B5A6CD}" vid="{98F5942D-0DB9-42C9-AA2F-BC75655673CC}"/>
    </a:ext>
  </a:extLst>
</a:theme>
</file>

<file path=ppt/theme/theme5.xml><?xml version="1.0" encoding="utf-8"?>
<a:theme xmlns:a="http://schemas.openxmlformats.org/drawingml/2006/main" name="4_WHO Grid A4">
  <a:themeElements>
    <a:clrScheme name="WHO">
      <a:dk1>
        <a:srgbClr val="000000"/>
      </a:dk1>
      <a:lt1>
        <a:sysClr val="window" lastClr="FFFFFF"/>
      </a:lt1>
      <a:dk2>
        <a:srgbClr val="04A4EC"/>
      </a:dk2>
      <a:lt2>
        <a:srgbClr val="F2F2F2"/>
      </a:lt2>
      <a:accent1>
        <a:srgbClr val="00244C"/>
      </a:accent1>
      <a:accent2>
        <a:srgbClr val="0373A5"/>
      </a:accent2>
      <a:accent3>
        <a:srgbClr val="FFFF00"/>
      </a:accent3>
      <a:accent4>
        <a:srgbClr val="60CCFC"/>
      </a:accent4>
      <a:accent5>
        <a:srgbClr val="6E6F73"/>
      </a:accent5>
      <a:accent6>
        <a:srgbClr val="8064A2"/>
      </a:accent6>
      <a:hlink>
        <a:srgbClr val="C0504D"/>
      </a:hlink>
      <a:folHlink>
        <a:srgbClr val="C96765"/>
      </a:folHlink>
    </a:clrScheme>
    <a:fontScheme name="WHO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4A4EC"/>
        </a:solidFill>
        <a:ln w="9525" cap="rnd" cmpd="sng" algn="ctr">
          <a:solidFill>
            <a:srgbClr val="04A4EC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wrap="square" lIns="0" tIns="0" rIns="0" bIns="0" rtlCol="0" anchor="ctr" anchorCtr="0">
        <a:noAutofit/>
      </a:bodyPr>
      <a:lstStyle>
        <a:defPPr algn="ctr">
          <a:defRPr sz="1200" dirty="0" err="1" smtClean="0">
            <a:solidFill>
              <a:srgbClr val="000000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6.xml><?xml version="1.0" encoding="utf-8"?>
<a:theme xmlns:a="http://schemas.openxmlformats.org/drawingml/2006/main" name="102_WHO_CF_WHO046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7DDAF3"/>
      </a:accent1>
      <a:accent2>
        <a:srgbClr val="018ECB"/>
      </a:accent2>
      <a:accent3>
        <a:srgbClr val="004A99"/>
      </a:accent3>
      <a:accent4>
        <a:srgbClr val="00244C"/>
      </a:accent4>
      <a:accent5>
        <a:srgbClr val="696969"/>
      </a:accent5>
      <a:accent6>
        <a:srgbClr val="808080"/>
      </a:accent6>
      <a:hlink>
        <a:srgbClr val="004A99"/>
      </a:hlink>
      <a:folHlink>
        <a:srgbClr val="00244C"/>
      </a:folHlink>
    </a:clrScheme>
    <a:fontScheme name="Custom 13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7DDAF3"/>
        </a:accent1>
        <a:accent2>
          <a:srgbClr val="018ECB"/>
        </a:accent2>
        <a:accent3>
          <a:srgbClr val="004A99"/>
        </a:accent3>
        <a:accent4>
          <a:srgbClr val="00244C"/>
        </a:accent4>
        <a:accent5>
          <a:srgbClr val="696969"/>
        </a:accent5>
        <a:accent6>
          <a:srgbClr val="808080"/>
        </a:accent6>
        <a:hlink>
          <a:srgbClr val="004A99"/>
        </a:hlink>
        <a:folHlink>
          <a:srgbClr val="00244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HO_CF_WHO046.potx" id="{496379C6-2F34-4EBD-901E-6AFDD3B5A6CD}" vid="{98F5942D-0DB9-42C9-AA2F-BC75655673CC}"/>
    </a:ext>
  </a:extLst>
</a:theme>
</file>

<file path=ppt/theme/theme7.xml><?xml version="1.0" encoding="utf-8"?>
<a:theme xmlns:a="http://schemas.openxmlformats.org/drawingml/2006/main" name="4_CF_GV0191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7DDAF3"/>
      </a:accent1>
      <a:accent2>
        <a:srgbClr val="018ECB"/>
      </a:accent2>
      <a:accent3>
        <a:srgbClr val="004A99"/>
      </a:accent3>
      <a:accent4>
        <a:srgbClr val="00244C"/>
      </a:accent4>
      <a:accent5>
        <a:srgbClr val="696969"/>
      </a:accent5>
      <a:accent6>
        <a:srgbClr val="808080"/>
      </a:accent6>
      <a:hlink>
        <a:srgbClr val="004A99"/>
      </a:hlink>
      <a:folHlink>
        <a:srgbClr val="00244C"/>
      </a:folHlink>
    </a:clrScheme>
    <a:fontScheme name="Custom 13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7DDAF3"/>
        </a:accent1>
        <a:accent2>
          <a:srgbClr val="018ECB"/>
        </a:accent2>
        <a:accent3>
          <a:srgbClr val="004A99"/>
        </a:accent3>
        <a:accent4>
          <a:srgbClr val="00244C"/>
        </a:accent4>
        <a:accent5>
          <a:srgbClr val="696969"/>
        </a:accent5>
        <a:accent6>
          <a:srgbClr val="808080"/>
        </a:accent6>
        <a:hlink>
          <a:srgbClr val="004A99"/>
        </a:hlink>
        <a:folHlink>
          <a:srgbClr val="00244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F_GV0191.potx" id="{3497A333-2CE4-42D4-9EF3-8C7248B5A7D2}" vid="{C0E7AAFF-72E8-46B3-8DB3-9D8465DBE258}"/>
    </a:ext>
  </a:extLst>
</a:theme>
</file>

<file path=ppt/theme/theme8.xml><?xml version="1.0" encoding="utf-8"?>
<a:theme xmlns:a="http://schemas.openxmlformats.org/drawingml/2006/main" name="1_WHO_CF_WHO046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7DDAF3"/>
      </a:accent1>
      <a:accent2>
        <a:srgbClr val="018ECB"/>
      </a:accent2>
      <a:accent3>
        <a:srgbClr val="004A99"/>
      </a:accent3>
      <a:accent4>
        <a:srgbClr val="00244C"/>
      </a:accent4>
      <a:accent5>
        <a:srgbClr val="696969"/>
      </a:accent5>
      <a:accent6>
        <a:srgbClr val="808080"/>
      </a:accent6>
      <a:hlink>
        <a:srgbClr val="004A99"/>
      </a:hlink>
      <a:folHlink>
        <a:srgbClr val="00244C"/>
      </a:folHlink>
    </a:clrScheme>
    <a:fontScheme name="Custom 13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7DDAF3"/>
        </a:accent1>
        <a:accent2>
          <a:srgbClr val="018ECB"/>
        </a:accent2>
        <a:accent3>
          <a:srgbClr val="004A99"/>
        </a:accent3>
        <a:accent4>
          <a:srgbClr val="00244C"/>
        </a:accent4>
        <a:accent5>
          <a:srgbClr val="696969"/>
        </a:accent5>
        <a:accent6>
          <a:srgbClr val="808080"/>
        </a:accent6>
        <a:hlink>
          <a:srgbClr val="004A99"/>
        </a:hlink>
        <a:folHlink>
          <a:srgbClr val="00244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HO_CF_WHO046.potx" id="{496379C6-2F34-4EBD-901E-6AFDD3B5A6CD}" vid="{98F5942D-0DB9-42C9-AA2F-BC75655673CC}"/>
    </a:ext>
  </a:extLst>
</a:theme>
</file>

<file path=ppt/theme/theme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773E3B195DDEC4DA3286754E5D2D861" ma:contentTypeVersion="14" ma:contentTypeDescription="Create a new document." ma:contentTypeScope="" ma:versionID="3ff348262d1e0f6e87e62d861bdb5556">
  <xsd:schema xmlns:xsd="http://www.w3.org/2001/XMLSchema" xmlns:xs="http://www.w3.org/2001/XMLSchema" xmlns:p="http://schemas.microsoft.com/office/2006/metadata/properties" xmlns:ns3="b4570ebe-0c37-4beb-883b-16e07b099dac" xmlns:ns4="f2f6d5af-f638-4f62-aa1e-f841ead3cdd3" targetNamespace="http://schemas.microsoft.com/office/2006/metadata/properties" ma:root="true" ma:fieldsID="b95cf5247289000d387c46af5791a010" ns3:_="" ns4:_="">
    <xsd:import namespace="b4570ebe-0c37-4beb-883b-16e07b099dac"/>
    <xsd:import namespace="f2f6d5af-f638-4f62-aa1e-f841ead3cdd3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DateTaken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ServiceLocation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570ebe-0c37-4beb-883b-16e07b099da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f6d5af-f638-4f62-aa1e-f841ead3cd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F3882A5-9928-4FF2-81FA-F6BEF01A6E34}">
  <ds:schemaRefs>
    <ds:schemaRef ds:uri="http://schemas.microsoft.com/office/2006/metadata/properties"/>
    <ds:schemaRef ds:uri="http://purl.org/dc/terms/"/>
    <ds:schemaRef ds:uri="b4570ebe-0c37-4beb-883b-16e07b099dac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f2f6d5af-f638-4f62-aa1e-f841ead3cdd3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155BE82-BD7B-4F01-94DC-351F430E74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4570ebe-0c37-4beb-883b-16e07b099dac"/>
    <ds:schemaRef ds:uri="f2f6d5af-f638-4f62-aa1e-f841ead3cdd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9BC5DC5-D243-4E24-8239-2E03ECBD9B5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33</Words>
  <Application>Microsoft Macintosh PowerPoint</Application>
  <PresentationFormat>On-screen Show (4:3)</PresentationFormat>
  <Paragraphs>380</Paragraphs>
  <Slides>28</Slides>
  <Notes>28</Notes>
  <HiddenSlides>0</HiddenSlides>
  <MMClips>1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49" baseType="lpstr">
      <vt:lpstr>Calibri</vt:lpstr>
      <vt:lpstr>Abadi</vt:lpstr>
      <vt:lpstr>MS PGothic</vt:lpstr>
      <vt:lpstr>ＭＳ Ｐゴシック</vt:lpstr>
      <vt:lpstr>Times New Roman</vt:lpstr>
      <vt:lpstr>宋体</vt:lpstr>
      <vt:lpstr>Ebrima</vt:lpstr>
      <vt:lpstr>Symbol</vt:lpstr>
      <vt:lpstr>Wingdings</vt:lpstr>
      <vt:lpstr>Arial</vt:lpstr>
      <vt:lpstr>Calibri Light</vt:lpstr>
      <vt:lpstr>Trebuchet MS</vt:lpstr>
      <vt:lpstr>WHO_CF_WHO046</vt:lpstr>
      <vt:lpstr>43_WHO_CF_WHO046</vt:lpstr>
      <vt:lpstr>1_CF_GV0191</vt:lpstr>
      <vt:lpstr>101_WHO_CF_WHO046</vt:lpstr>
      <vt:lpstr>4_WHO Grid A4</vt:lpstr>
      <vt:lpstr>102_WHO_CF_WHO046</vt:lpstr>
      <vt:lpstr>4_CF_GV0191</vt:lpstr>
      <vt:lpstr>1_WHO_CF_WHO046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ssessing &amp; transforming servic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5-28T11:24:57Z</dcterms:created>
  <dcterms:modified xsi:type="dcterms:W3CDTF">2023-03-11T10:17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73E3B195DDEC4DA3286754E5D2D861</vt:lpwstr>
  </property>
</Properties>
</file>